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wdp" ContentType="image/vnd.ms-photo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4"/>
  </p:notesMasterIdLst>
  <p:sldIdLst>
    <p:sldId id="256" r:id="rId3"/>
    <p:sldId id="262" r:id="rId5"/>
    <p:sldId id="265" r:id="rId6"/>
    <p:sldId id="263" r:id="rId7"/>
    <p:sldId id="266" r:id="rId8"/>
    <p:sldId id="282" r:id="rId9"/>
    <p:sldId id="268" r:id="rId10"/>
    <p:sldId id="269" r:id="rId11"/>
    <p:sldId id="270" r:id="rId12"/>
    <p:sldId id="271" r:id="rId13"/>
    <p:sldId id="272" r:id="rId14"/>
    <p:sldId id="273" r:id="rId15"/>
    <p:sldId id="274" r:id="rId16"/>
    <p:sldId id="275" r:id="rId17"/>
    <p:sldId id="276" r:id="rId18"/>
    <p:sldId id="277" r:id="rId19"/>
    <p:sldId id="278" r:id="rId20"/>
    <p:sldId id="279" r:id="rId21"/>
    <p:sldId id="280" r:id="rId22"/>
    <p:sldId id="281" r:id="rId23"/>
    <p:sldId id="267" r:id="rId24"/>
    <p:sldId id="283" r:id="rId25"/>
    <p:sldId id="284" r:id="rId26"/>
    <p:sldId id="285" r:id="rId27"/>
    <p:sldId id="286" r:id="rId28"/>
    <p:sldId id="287" r:id="rId29"/>
    <p:sldId id="288" r:id="rId30"/>
    <p:sldId id="289" r:id="rId31"/>
    <p:sldId id="290" r:id="rId32"/>
    <p:sldId id="291" r:id="rId33"/>
    <p:sldId id="292" r:id="rId34"/>
    <p:sldId id="293" r:id="rId35"/>
    <p:sldId id="294" r:id="rId36"/>
    <p:sldId id="295" r:id="rId37"/>
    <p:sldId id="296" r:id="rId38"/>
    <p:sldId id="297" r:id="rId39"/>
    <p:sldId id="298" r:id="rId40"/>
    <p:sldId id="299" r:id="rId41"/>
    <p:sldId id="261" r:id="rId42"/>
  </p:sldIdLst>
  <p:sldSz cx="12192000" cy="6858000"/>
  <p:notesSz cx="6858000" cy="9144000"/>
  <p:custDataLst>
    <p:tags r:id="rId4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48EEC"/>
    <a:srgbClr val="F3A50F"/>
    <a:srgbClr val="FCE6BA"/>
    <a:srgbClr val="929BEE"/>
    <a:srgbClr val="008EBD"/>
    <a:srgbClr val="FF7701"/>
    <a:srgbClr val="38398B"/>
    <a:srgbClr val="D3CFE3"/>
    <a:srgbClr val="EB9FA1"/>
    <a:srgbClr val="D8D9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539" autoAdjust="0"/>
    <p:restoredTop sz="96160" autoAdjust="0"/>
  </p:normalViewPr>
  <p:slideViewPr>
    <p:cSldViewPr snapToGrid="0">
      <p:cViewPr varScale="1">
        <p:scale>
          <a:sx n="75" d="100"/>
          <a:sy n="75" d="100"/>
        </p:scale>
        <p:origin x="190" y="3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93" d="100"/>
          <a:sy n="93" d="100"/>
        </p:scale>
        <p:origin x="3302" y="91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6" Type="http://schemas.openxmlformats.org/officeDocument/2006/relationships/tags" Target="tags/tag16.xml"/><Relationship Id="rId45" Type="http://schemas.openxmlformats.org/officeDocument/2006/relationships/tableStyles" Target="tableStyles.xml"/><Relationship Id="rId44" Type="http://schemas.openxmlformats.org/officeDocument/2006/relationships/viewProps" Target="viewProps.xml"/><Relationship Id="rId43" Type="http://schemas.openxmlformats.org/officeDocument/2006/relationships/presProps" Target="presProps.xml"/><Relationship Id="rId42" Type="http://schemas.openxmlformats.org/officeDocument/2006/relationships/slide" Target="slides/slide39.xml"/><Relationship Id="rId41" Type="http://schemas.openxmlformats.org/officeDocument/2006/relationships/slide" Target="slides/slide38.xml"/><Relationship Id="rId40" Type="http://schemas.openxmlformats.org/officeDocument/2006/relationships/slide" Target="slides/slide37.xml"/><Relationship Id="rId4" Type="http://schemas.openxmlformats.org/officeDocument/2006/relationships/notesMaster" Target="notesMasters/notesMaster1.xml"/><Relationship Id="rId39" Type="http://schemas.openxmlformats.org/officeDocument/2006/relationships/slide" Target="slides/slide36.xml"/><Relationship Id="rId38" Type="http://schemas.openxmlformats.org/officeDocument/2006/relationships/slide" Target="slides/slide35.xml"/><Relationship Id="rId37" Type="http://schemas.openxmlformats.org/officeDocument/2006/relationships/slide" Target="slides/slide34.xml"/><Relationship Id="rId36" Type="http://schemas.openxmlformats.org/officeDocument/2006/relationships/slide" Target="slides/slide33.xml"/><Relationship Id="rId35" Type="http://schemas.openxmlformats.org/officeDocument/2006/relationships/slide" Target="slides/slide32.xml"/><Relationship Id="rId34" Type="http://schemas.openxmlformats.org/officeDocument/2006/relationships/slide" Target="slides/slide31.xml"/><Relationship Id="rId33" Type="http://schemas.openxmlformats.org/officeDocument/2006/relationships/slide" Target="slides/slide30.xml"/><Relationship Id="rId32" Type="http://schemas.openxmlformats.org/officeDocument/2006/relationships/slide" Target="slides/slide29.xml"/><Relationship Id="rId31" Type="http://schemas.openxmlformats.org/officeDocument/2006/relationships/slide" Target="slides/slide28.xml"/><Relationship Id="rId30" Type="http://schemas.openxmlformats.org/officeDocument/2006/relationships/slide" Target="slides/slide27.xml"/><Relationship Id="rId3" Type="http://schemas.openxmlformats.org/officeDocument/2006/relationships/slide" Target="slides/slide1.xml"/><Relationship Id="rId29" Type="http://schemas.openxmlformats.org/officeDocument/2006/relationships/slide" Target="slides/slide26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2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3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4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5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6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7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8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9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0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2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3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4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5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6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7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8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9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png"/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4" Type="http://schemas.openxmlformats.org/officeDocument/2006/relationships/image" Target="../media/image12.png"/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封面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1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473159" y="3627120"/>
            <a:ext cx="8894523" cy="558799"/>
          </a:xfrm>
        </p:spPr>
        <p:txBody>
          <a:bodyPr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00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000" b="0" i="0" u="none" strike="noStrike" kern="1200" cap="none" spc="30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SPEAKER NAME AND TITLE</a:t>
            </a: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9802" name="标题 1"/>
          <p:cNvSpPr>
            <a:spLocks noGrp="1"/>
          </p:cNvSpPr>
          <p:nvPr>
            <p:ph type="ctrTitle" hasCustomPrompt="1"/>
          </p:nvPr>
        </p:nvSpPr>
        <p:spPr>
          <a:xfrm>
            <a:off x="1473159" y="2771794"/>
            <a:ext cx="8894523" cy="779126"/>
          </a:xfrm>
        </p:spPr>
        <p:txBody>
          <a:bodyPr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4000" b="1" spc="300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4400" b="1" i="0" u="none" strike="noStrike" kern="1200" cap="none" spc="3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+mn-cs"/>
              </a:rPr>
              <a:t>SPEECH THEME HERE</a:t>
            </a:r>
            <a:endParaRPr kumimoji="0" lang="zh-CN" altLang="en-US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j-ea"/>
              <a:cs typeface="+mn-cs"/>
            </a:endParaRPr>
          </a:p>
        </p:txBody>
      </p:sp>
      <p:pic>
        <p:nvPicPr>
          <p:cNvPr id="3" name="图片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4538" y="5735778"/>
            <a:ext cx="1583284" cy="360000"/>
          </a:xfrm>
          <a:prstGeom prst="rect">
            <a:avLst/>
          </a:prstGeom>
        </p:spPr>
      </p:pic>
      <p:cxnSp>
        <p:nvCxnSpPr>
          <p:cNvPr id="13" name="直接连接符 12"/>
          <p:cNvCxnSpPr/>
          <p:nvPr userDrawn="1"/>
        </p:nvCxnSpPr>
        <p:spPr>
          <a:xfrm>
            <a:off x="1371600" y="5495400"/>
            <a:ext cx="97536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图片 1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7239" y="1640244"/>
            <a:ext cx="5000002" cy="360000"/>
          </a:xfrm>
          <a:prstGeom prst="rect">
            <a:avLst/>
          </a:prstGeom>
        </p:spPr>
      </p:pic>
      <p:pic>
        <p:nvPicPr>
          <p:cNvPr id="18" name="图片 1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1880" y="1141105"/>
            <a:ext cx="6788849" cy="547200"/>
          </a:xfrm>
          <a:prstGeom prst="rect">
            <a:avLst/>
          </a:prstGeom>
        </p:spPr>
      </p:pic>
      <p:pic>
        <p:nvPicPr>
          <p:cNvPr id="7" name="图片 6" descr="logo-bottom-new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73200" y="5761990"/>
            <a:ext cx="4933950" cy="32829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6008481" y="2092521"/>
            <a:ext cx="5419185" cy="895350"/>
          </a:xfrm>
        </p:spPr>
        <p:txBody>
          <a:bodyPr anchor="b">
            <a:normAutofit/>
          </a:bodyPr>
          <a:lstStyle>
            <a:lvl1pPr algn="l">
              <a:defRPr sz="3200" b="1" baseline="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Title her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6008480" y="3045851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80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ontent here</a:t>
            </a:r>
            <a:endParaRPr lang="en-US" dirty="0"/>
          </a:p>
        </p:txBody>
      </p:sp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152636" cy="685800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1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3082401" y="3946260"/>
            <a:ext cx="5419185" cy="895350"/>
          </a:xfrm>
        </p:spPr>
        <p:txBody>
          <a:bodyPr anchor="b">
            <a:normAutofit/>
          </a:bodyPr>
          <a:lstStyle>
            <a:lvl1pPr algn="l">
              <a:defRPr sz="3200" b="1" baseline="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Title her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3082400" y="4899590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80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ontent here</a:t>
            </a:r>
            <a:endParaRPr lang="en-US" dirty="0"/>
          </a:p>
        </p:txBody>
      </p:sp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05257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页版式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ph type="title" hasCustomPrompt="1"/>
          </p:nvPr>
        </p:nvSpPr>
        <p:spPr>
          <a:xfrm>
            <a:off x="1008529" y="968752"/>
            <a:ext cx="10239936" cy="64391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altLang="zh-CN" dirty="0"/>
              <a:t>Title her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 hasCustomPrompt="1"/>
          </p:nvPr>
        </p:nvSpPr>
        <p:spPr>
          <a:xfrm>
            <a:off x="1008530" y="1820487"/>
            <a:ext cx="10239936" cy="3574473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Content here</a:t>
            </a:r>
            <a:endParaRPr lang="zh-CN" altLang="en-US" dirty="0"/>
          </a:p>
        </p:txBody>
      </p:sp>
      <p:pic>
        <p:nvPicPr>
          <p:cNvPr id="9" name="图片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280" y="6332423"/>
            <a:ext cx="1404503" cy="319838"/>
          </a:xfrm>
          <a:prstGeom prst="rect">
            <a:avLst/>
          </a:prstGeom>
        </p:spPr>
      </p:pic>
      <p:cxnSp>
        <p:nvCxnSpPr>
          <p:cNvPr id="11" name="直接连接符 10"/>
          <p:cNvCxnSpPr/>
          <p:nvPr userDrawn="1"/>
        </p:nvCxnSpPr>
        <p:spPr>
          <a:xfrm>
            <a:off x="-38100" y="6119149"/>
            <a:ext cx="122682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" name="图片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493529"/>
          </a:xfrm>
          <a:prstGeom prst="rect">
            <a:avLst/>
          </a:prstGeom>
        </p:spPr>
      </p:pic>
      <p:pic>
        <p:nvPicPr>
          <p:cNvPr id="7" name="图片 6" descr="logo-bottom-new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93420" y="6337935"/>
            <a:ext cx="4776470" cy="31813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>
            <a:off x="2243638" y="1133856"/>
            <a:ext cx="8070793" cy="4619244"/>
          </a:xfrm>
          <a:prstGeom prst="rect">
            <a:avLst/>
          </a:prstGeom>
          <a:solidFill>
            <a:srgbClr val="EBE9EC">
              <a:alpha val="95000"/>
            </a:srgbClr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3334384" y="2092510"/>
            <a:ext cx="5461601" cy="822960"/>
          </a:xfr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THANKS</a:t>
            </a:r>
            <a:endParaRPr lang="zh-CN" altLang="en-US" dirty="0"/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3334383" y="2928918"/>
            <a:ext cx="5461601" cy="528383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8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CONTACT INFORMATION</a:t>
            </a:r>
            <a:endParaRPr lang="en-US" altLang="zh-CN" dirty="0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2253" y="4959443"/>
            <a:ext cx="2531767" cy="340791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1945" y="4911761"/>
            <a:ext cx="1675175" cy="380892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.xml"/><Relationship Id="rId8" Type="http://schemas.openxmlformats.org/officeDocument/2006/relationships/themeOverride" Target="../theme/themeOverride1.xml"/><Relationship Id="rId7" Type="http://schemas.openxmlformats.org/officeDocument/2006/relationships/image" Target="../media/image15.png"/><Relationship Id="rId6" Type="http://schemas.openxmlformats.org/officeDocument/2006/relationships/image" Target="../media/image14.png"/><Relationship Id="rId5" Type="http://schemas.openxmlformats.org/officeDocument/2006/relationships/tags" Target="../tags/tag2.xml"/><Relationship Id="rId4" Type="http://schemas.openxmlformats.org/officeDocument/2006/relationships/image" Target="../media/image13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1" Type="http://schemas.openxmlformats.org/officeDocument/2006/relationships/notesSlide" Target="../notesSlides/notesSlide1.xml"/><Relationship Id="rId10" Type="http://schemas.openxmlformats.org/officeDocument/2006/relationships/vmlDrawing" Target="../drawings/vmlDrawing1.vml"/><Relationship Id="rId1" Type="http://schemas.openxmlformats.org/officeDocument/2006/relationships/image" Target="../media/image1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0.xml"/><Relationship Id="rId6" Type="http://schemas.openxmlformats.org/officeDocument/2006/relationships/slideLayout" Target="../slideLayouts/slideLayout4.xml"/><Relationship Id="rId5" Type="http://schemas.openxmlformats.org/officeDocument/2006/relationships/image" Target="../media/image25.jpeg"/><Relationship Id="rId4" Type="http://schemas.openxmlformats.org/officeDocument/2006/relationships/image" Target="../media/image24.jpeg"/><Relationship Id="rId3" Type="http://schemas.microsoft.com/office/2007/relationships/hdphoto" Target="../media/image23.wdp"/><Relationship Id="rId2" Type="http://schemas.openxmlformats.org/officeDocument/2006/relationships/image" Target="../media/image22.png"/><Relationship Id="rId1" Type="http://schemas.openxmlformats.org/officeDocument/2006/relationships/image" Target="../media/image21.jpeg"/></Relationships>
</file>

<file path=ppt/slides/_rels/slide14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4.xml"/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image" Target="../media/image26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2.xml"/><Relationship Id="rId7" Type="http://schemas.openxmlformats.org/officeDocument/2006/relationships/slideLayout" Target="../slideLayouts/slideLayout4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4" Type="http://schemas.openxmlformats.org/officeDocument/2006/relationships/image" Target="../media/image32.jpeg"/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4.xml"/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image" Target="../media/image3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38.png"/></Relationships>
</file>

<file path=ppt/slides/_rels/slide19.xml.rels><?xml version="1.0" encoding="UTF-8" standalone="yes"?>
<Relationships xmlns="http://schemas.openxmlformats.org/package/2006/relationships"><Relationship Id="rId9" Type="http://schemas.openxmlformats.org/officeDocument/2006/relationships/image" Target="../media/image47.png"/><Relationship Id="rId8" Type="http://schemas.openxmlformats.org/officeDocument/2006/relationships/image" Target="../media/image46.png"/><Relationship Id="rId7" Type="http://schemas.openxmlformats.org/officeDocument/2006/relationships/image" Target="../media/image45.png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1" Type="http://schemas.openxmlformats.org/officeDocument/2006/relationships/notesSlide" Target="../notesSlides/notesSlide16.xml"/><Relationship Id="rId10" Type="http://schemas.openxmlformats.org/officeDocument/2006/relationships/slideLayout" Target="../slideLayouts/slideLayout4.xml"/><Relationship Id="rId1" Type="http://schemas.openxmlformats.org/officeDocument/2006/relationships/image" Target="../media/image39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4.xml"/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image" Target="../media/image4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7.xml"/><Relationship Id="rId1" Type="http://schemas.openxmlformats.org/officeDocument/2006/relationships/image" Target="../media/image14.png"/></Relationships>
</file>

<file path=ppt/slides/_rels/slide22.xml.rels><?xml version="1.0" encoding="UTF-8" standalone="yes"?>
<Relationships xmlns="http://schemas.openxmlformats.org/package/2006/relationships"><Relationship Id="rId9" Type="http://schemas.openxmlformats.org/officeDocument/2006/relationships/image" Target="../media/image59.png"/><Relationship Id="rId8" Type="http://schemas.openxmlformats.org/officeDocument/2006/relationships/image" Target="../media/image58.png"/><Relationship Id="rId7" Type="http://schemas.openxmlformats.org/officeDocument/2006/relationships/image" Target="../media/image57.png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1" Type="http://schemas.openxmlformats.org/officeDocument/2006/relationships/notesSlide" Target="../notesSlides/notesSlide18.xml"/><Relationship Id="rId10" Type="http://schemas.openxmlformats.org/officeDocument/2006/relationships/slideLayout" Target="../slideLayouts/slideLayout4.xml"/><Relationship Id="rId1" Type="http://schemas.openxmlformats.org/officeDocument/2006/relationships/image" Target="../media/image5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60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61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6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63.png"/></Relationships>
</file>

<file path=ppt/slides/_rels/slide28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4.xml"/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65.png"/><Relationship Id="rId1" Type="http://schemas.openxmlformats.org/officeDocument/2006/relationships/image" Target="../media/image64.png"/></Relationships>
</file>

<file path=ppt/slides/_rels/slide29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5.xml"/><Relationship Id="rId3" Type="http://schemas.openxmlformats.org/officeDocument/2006/relationships/slideLayout" Target="../slideLayouts/slideLayout4.xml"/><Relationship Id="rId2" Type="http://schemas.openxmlformats.org/officeDocument/2006/relationships/tags" Target="../tags/tag8.xml"/><Relationship Id="rId1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.xml"/><Relationship Id="rId1" Type="http://schemas.openxmlformats.org/officeDocument/2006/relationships/image" Target="../media/image14.png"/></Relationships>
</file>

<file path=ppt/slides/_rels/slide30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6.xml"/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66.png"/><Relationship Id="rId1" Type="http://schemas.openxmlformats.org/officeDocument/2006/relationships/tags" Target="../tags/tag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67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68.png"/></Relationships>
</file>

<file path=ppt/slides/_rels/slide3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9.xml"/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70.png"/><Relationship Id="rId1" Type="http://schemas.openxmlformats.org/officeDocument/2006/relationships/image" Target="../media/image69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71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/Relationships>
</file>

<file path=ppt/slides/_rels/slide39.xml.rels><?xml version="1.0" encoding="UTF-8" standalone="yes"?>
<Relationships xmlns="http://schemas.openxmlformats.org/package/2006/relationships"><Relationship Id="rId9" Type="http://schemas.openxmlformats.org/officeDocument/2006/relationships/themeOverride" Target="../theme/themeOverride2.xml"/><Relationship Id="rId8" Type="http://schemas.openxmlformats.org/officeDocument/2006/relationships/image" Target="../media/image15.png"/><Relationship Id="rId7" Type="http://schemas.openxmlformats.org/officeDocument/2006/relationships/image" Target="../media/image14.png"/><Relationship Id="rId6" Type="http://schemas.openxmlformats.org/officeDocument/2006/relationships/image" Target="../media/image72.png"/><Relationship Id="rId5" Type="http://schemas.openxmlformats.org/officeDocument/2006/relationships/tags" Target="../tags/tag15.xml"/><Relationship Id="rId4" Type="http://schemas.openxmlformats.org/officeDocument/2006/relationships/image" Target="../media/image13.emf"/><Relationship Id="rId3" Type="http://schemas.openxmlformats.org/officeDocument/2006/relationships/oleObject" Target="../embeddings/oleObject2.bin"/><Relationship Id="rId2" Type="http://schemas.openxmlformats.org/officeDocument/2006/relationships/tags" Target="../tags/tag14.xml"/><Relationship Id="rId12" Type="http://schemas.openxmlformats.org/officeDocument/2006/relationships/notesSlide" Target="../notesSlides/notesSlide35.xml"/><Relationship Id="rId11" Type="http://schemas.openxmlformats.org/officeDocument/2006/relationships/vmlDrawing" Target="../drawings/vmlDrawing2.vml"/><Relationship Id="rId10" Type="http://schemas.openxmlformats.org/officeDocument/2006/relationships/slideLayout" Target="../slideLayouts/slideLayout6.xml"/><Relationship Id="rId1" Type="http://schemas.openxmlformats.org/officeDocument/2006/relationships/image" Target="../media/image10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.xml"/><Relationship Id="rId1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4.xml"/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18.png"/><Relationship Id="rId1" Type="http://schemas.openxmlformats.org/officeDocument/2006/relationships/image" Target="../media/image17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1375605" y="2344454"/>
            <a:ext cx="9921285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400" spc="300" dirty="0">
                <a:latin typeface="+mj-ea"/>
                <a:ea typeface="+mj-ea"/>
              </a:rPr>
              <a:t>一款</a:t>
            </a:r>
            <a:r>
              <a:rPr lang="zh-CN" altLang="en-US" sz="4400" b="1" spc="300" dirty="0">
                <a:latin typeface="+mj-ea"/>
                <a:ea typeface="+mj-ea"/>
              </a:rPr>
              <a:t>基于</a:t>
            </a:r>
            <a:r>
              <a:rPr lang="en-US" altLang="zh-CN" sz="4400" b="1" dirty="0">
                <a:latin typeface="+mj-ea"/>
                <a:ea typeface="+mj-ea"/>
              </a:rPr>
              <a:t>PostgreSQL</a:t>
            </a:r>
            <a:r>
              <a:rPr lang="zh-CN" altLang="en-US" sz="4400" b="1" spc="300" dirty="0">
                <a:latin typeface="+mj-ea"/>
                <a:ea typeface="+mj-ea"/>
              </a:rPr>
              <a:t>的兼容</a:t>
            </a:r>
            <a:r>
              <a:rPr lang="en-US" altLang="zh-CN" sz="4400" b="1" dirty="0">
                <a:latin typeface="+mj-ea"/>
                <a:ea typeface="+mj-ea"/>
              </a:rPr>
              <a:t>Oracle</a:t>
            </a:r>
            <a:r>
              <a:rPr lang="zh-CN" altLang="en-US" sz="4400" spc="300" dirty="0">
                <a:latin typeface="+mj-ea"/>
                <a:ea typeface="+mj-ea"/>
              </a:rPr>
              <a:t>的开源数据库</a:t>
            </a:r>
            <a:endParaRPr lang="zh-CN" altLang="en-US" sz="4400" spc="300" dirty="0">
              <a:latin typeface="+mj-ea"/>
              <a:ea typeface="+mj-ea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1395926" y="4169047"/>
            <a:ext cx="8905728" cy="4298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2000" spc="300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吕新杰 博士</a:t>
            </a:r>
            <a:endParaRPr lang="zh-CN" altLang="en-US" sz="2000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1395926" y="4611517"/>
            <a:ext cx="8905728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pc="300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瀚高</a:t>
            </a:r>
            <a:r>
              <a:rPr lang="zh-CN" altLang="en-US" spc="300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股份 副总裁</a:t>
            </a:r>
            <a:endParaRPr lang="zh-CN" altLang="en-US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</p:txBody>
      </p:sp>
      <p:grpSp>
        <p:nvGrpSpPr>
          <p:cNvPr id="5" name="组合 4"/>
          <p:cNvGrpSpPr/>
          <p:nvPr/>
        </p:nvGrpSpPr>
        <p:grpSpPr>
          <a:xfrm>
            <a:off x="5787341" y="4162951"/>
            <a:ext cx="5327155" cy="951096"/>
            <a:chOff x="4991775" y="3797302"/>
            <a:chExt cx="5392101" cy="962691"/>
          </a:xfrm>
        </p:grpSpPr>
        <p:pic>
          <p:nvPicPr>
            <p:cNvPr id="6" name="Picture 2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991775" y="3797302"/>
              <a:ext cx="2718201" cy="955777"/>
            </a:xfrm>
            <a:prstGeom prst="rect">
              <a:avLst/>
            </a:prstGeom>
          </p:spPr>
        </p:pic>
        <p:pic>
          <p:nvPicPr>
            <p:cNvPr id="8" name="图片 7" descr="瀚高数据库横版-橙黑透明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990013" y="3843824"/>
              <a:ext cx="2393863" cy="916169"/>
            </a:xfrm>
            <a:prstGeom prst="rect">
              <a:avLst/>
            </a:prstGeom>
          </p:spPr>
        </p:pic>
        <p:sp>
          <p:nvSpPr>
            <p:cNvPr id="11" name="文本框 10"/>
            <p:cNvSpPr txBox="1"/>
            <p:nvPr/>
          </p:nvSpPr>
          <p:spPr>
            <a:xfrm>
              <a:off x="7700206" y="4087383"/>
              <a:ext cx="415094" cy="4303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2000" spc="300" dirty="0">
                  <a:solidFill>
                    <a:schemeClr val="bg1">
                      <a:lumMod val="75000"/>
                    </a:schemeClr>
                  </a:solidFill>
                  <a:latin typeface="+mn-ea"/>
                </a:rPr>
                <a:t>/</a:t>
              </a:r>
              <a:endParaRPr lang="zh-CN" altLang="en-US" sz="2000" dirty="0">
                <a:solidFill>
                  <a:schemeClr val="bg1">
                    <a:lumMod val="75000"/>
                  </a:schemeClr>
                </a:solidFill>
                <a:latin typeface="+mn-ea"/>
              </a:endParaRPr>
            </a:p>
          </p:txBody>
        </p:sp>
      </p:grp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本框 16"/>
          <p:cNvSpPr txBox="1"/>
          <p:nvPr/>
        </p:nvSpPr>
        <p:spPr>
          <a:xfrm>
            <a:off x="669923" y="915745"/>
            <a:ext cx="10850565" cy="628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3200" b="1" dirty="0">
                <a:latin typeface="+mj-lt"/>
                <a:ea typeface="+mj-ea"/>
              </a:rPr>
              <a:t>国际交流合作</a:t>
            </a:r>
            <a:endParaRPr lang="zh-CN" altLang="en-US" sz="3200" b="1" dirty="0">
              <a:latin typeface="+mj-lt"/>
              <a:ea typeface="+mj-ea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688590" y="1638300"/>
            <a:ext cx="7239000" cy="4130040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本框 16"/>
          <p:cNvSpPr txBox="1"/>
          <p:nvPr/>
        </p:nvSpPr>
        <p:spPr>
          <a:xfrm>
            <a:off x="669923" y="915745"/>
            <a:ext cx="10850565" cy="628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3200" b="1" dirty="0">
                <a:latin typeface="+mj-lt"/>
                <a:ea typeface="+mj-ea"/>
              </a:rPr>
              <a:t>国际交流合作</a:t>
            </a:r>
            <a:endParaRPr lang="zh-CN" altLang="en-US" sz="3200" b="1" dirty="0">
              <a:latin typeface="+mj-lt"/>
              <a:ea typeface="+mj-ea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720090" y="1618615"/>
            <a:ext cx="5695950" cy="45243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/>
              <a:t>https://www.postgresql.org/message-id/20200123171423.GA25918%40alvherre.pgsql</a:t>
            </a:r>
            <a:endParaRPr lang="zh-CN" alt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/>
              <a:t>https://www.postgresql.org/message-id/158287616306.14910.17791108224723819457.pgcf%40coridan.postgresql.org</a:t>
            </a:r>
            <a:endParaRPr lang="zh-CN" alt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/>
              <a:t>https://www.postgresql.org/message-id/156682398662.1187.17972151111062776961.pgcf%40coridan.postgresql.org</a:t>
            </a:r>
            <a:endParaRPr lang="zh-CN" alt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/>
              <a:t>https://www.postgresql.org/message-id/CADM%3DJejNpZuCwS3TkSCHnMEjs8ey_j4n9ocKZ46aCrrSmxtj1A%40mail.gmail.com</a:t>
            </a:r>
            <a:endParaRPr lang="zh-CN" alt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/>
              <a:t>https://www.postgresql.org/message-id/157800160408.1198.1714906047977693148.pgcf%40coridan.postgresql.org</a:t>
            </a:r>
            <a:endParaRPr lang="zh-CN" alt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/>
              <a:t>https://commitfest.postgresql.org/27/2196/</a:t>
            </a:r>
            <a:endParaRPr lang="zh-CN" alt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/>
              <a:t>https://www.postgresql.org/message-id/157911333817.709.14442233793862477339.pgcf%40coridan.postgresql.org</a:t>
            </a:r>
            <a:endParaRPr lang="zh-CN" alt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/>
              <a:t>https://www.postgresql.org/message-id/158205760364.26210.17325175504060984319.pgcf@coridan.postgresql.org</a:t>
            </a:r>
            <a:endParaRPr lang="zh-CN" alt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/>
              <a:t>https://www.postgresql.org/message-id/158207136931.26210.15426708932756393553.pgcf%40coridan.postgresql.org</a:t>
            </a:r>
            <a:endParaRPr lang="zh-CN" alt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/>
              <a:t>https://www.postgresql.org/message-id/157985813081.742.12901374861257824963.pgcf%40coridan.postgresql.org</a:t>
            </a:r>
            <a:endParaRPr lang="zh-CN" alt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/>
              <a:t>https://www.postgresql.org/message-id/158290477891.14909.16506889684573597132.pgcf%40coridan.postgresql.org</a:t>
            </a:r>
            <a:endParaRPr lang="zh-CN" alt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/>
              <a:t>https://www.postgresql.org/message-id/158195395153.26210.16833276266860380102.pgcf%40coridan.postgresql.org</a:t>
            </a:r>
            <a:endParaRPr lang="zh-CN" alt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/>
              <a:t>https://www.postgresql.org/message-id/156041479952.1280.2626916806999463144.pgcf%40coridan.postgresql.org</a:t>
            </a:r>
            <a:endParaRPr lang="zh-CN" alt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/>
              <a:t>https://www.postgresql.org/message-id/156921474237.1442.4182373664494053231.pgcf%40coridan.postgresql.org</a:t>
            </a:r>
            <a:endParaRPr lang="zh-CN" alt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/>
              <a:t>https://www.postgresql.org/message-id/CA%2B9bhCK7chd0qx%2Bmny%2BU9xaOs2FDNJ7RaxG4%3D9rpgT6oAKBgWA%40mail.gmail.com</a:t>
            </a:r>
            <a:endParaRPr lang="zh-CN" alt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/>
              <a:t>https://www.postgresql.org/message-id/8808bcd2-22e0-6faa-dc2a-44478b4813eb@highgo.ca</a:t>
            </a:r>
            <a:endParaRPr lang="zh-CN" alt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/>
              <a:t>https://commitfest.postgresql.org/28/2510/</a:t>
            </a:r>
            <a:endParaRPr lang="zh-CN" alt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/>
              <a:t>https://commitfest.postgresql.org/27/2472/</a:t>
            </a:r>
            <a:endParaRPr lang="zh-CN" altLang="en-US" sz="900" dirty="0"/>
          </a:p>
        </p:txBody>
      </p:sp>
      <p:sp>
        <p:nvSpPr>
          <p:cNvPr id="5" name="文本框 4"/>
          <p:cNvSpPr txBox="1"/>
          <p:nvPr/>
        </p:nvSpPr>
        <p:spPr>
          <a:xfrm>
            <a:off x="6429375" y="1618615"/>
            <a:ext cx="5381625" cy="424731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/>
              <a:t>https://www.pgpool.net/pipermail/pgpool-hackers/2020-April/003594.html</a:t>
            </a:r>
            <a:endParaRPr lang="zh-CN" alt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/>
              <a:t>https://commitfest.postgresql.org/28/2543/</a:t>
            </a:r>
            <a:endParaRPr lang="zh-CN" alt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/>
              <a:t>https://git.postgresql.org/gitweb/?p=pgpool2.git;a=commitdiff;h=987b69945dc914b88099d1d0420c4b49f1097f2f</a:t>
            </a:r>
            <a:endParaRPr lang="zh-CN" alt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/>
              <a:t>https://www.postgresql.org/message-id/2d8d5be1-110c-eb54-b03e-0721d069b6bf%40highgo.ca</a:t>
            </a:r>
            <a:endParaRPr lang="zh-CN" alt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/>
              <a:t>https://commitfest.postgresql.org/28/2540/</a:t>
            </a:r>
            <a:endParaRPr lang="zh-CN" alt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/>
              <a:t>https://commitfest.postgresql.org/28/2558/</a:t>
            </a:r>
            <a:endParaRPr lang="zh-CN" alt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/>
              <a:t>https://www.pgpool.net/pipermail/pgpool-hackers/2020-June/003667.html</a:t>
            </a:r>
            <a:endParaRPr lang="zh-CN" alt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/>
              <a:t>https://commitfest.postgresql.org/28/2546/</a:t>
            </a:r>
            <a:endParaRPr lang="zh-CN" alt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/>
              <a:t>https://commitfest.postgresql.org/28/2546/</a:t>
            </a:r>
            <a:endParaRPr lang="zh-CN" alt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/>
              <a:t>https://www.pgpool.net/pipermail/pgpool-hackers/2020-July/003689.html</a:t>
            </a:r>
            <a:endParaRPr lang="zh-CN" alt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/>
              <a:t>https://commitfest.postgresql.org/29/2633/</a:t>
            </a:r>
            <a:endParaRPr lang="zh-CN" alt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/>
              <a:t>https://www.postgresql.org/message-id/159433943749.1150.5754029070727088340.pgcf@coridan.postgresql.org</a:t>
            </a:r>
            <a:endParaRPr lang="zh-CN" alt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/>
              <a:t>https://git.postgresql.org/gitweb?p=pgpool2.git;a=commitdiff;h=761d30a17d04350fb3a67bce43440731c8ba3c90</a:t>
            </a:r>
            <a:endParaRPr lang="zh-CN" alt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/>
              <a:t>https://www.postgresql.org/message-id/flat/CAFj8pRA5GnKT+gDVwbVRH2ep451H_myBt+NTz8RkYUARE9+qOQ@mail.gmail.com</a:t>
            </a:r>
            <a:endParaRPr lang="zh-CN" alt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/>
              <a:t>https://commitfest.postgresql.org/28/2243/</a:t>
            </a:r>
            <a:endParaRPr lang="zh-CN" alt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/>
              <a:t>https://commitfest.postgresql.org/28/2546/</a:t>
            </a:r>
            <a:endParaRPr lang="zh-CN" alt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/>
              <a:t>https://www.postgresql.org/message-id/2020080315092094832025%40highgo.ca</a:t>
            </a:r>
            <a:endParaRPr lang="zh-CN" alt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/>
              <a:t>https://www.postgresql.org/message-id/159683001830.790.5537298957970260797.pgcf@coridan.postgresql.org</a:t>
            </a:r>
            <a:endParaRPr lang="zh-CN" alt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/>
              <a:t>https://commitfest.postgresql.org/29/2634/</a:t>
            </a:r>
            <a:endParaRPr lang="zh-CN" alt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/>
              <a:t>https://www.postgresql.org/message-id/159683001830.790.5537298957970260797.pgcf@coridan.postgresql.org</a:t>
            </a:r>
            <a:endParaRPr lang="zh-CN" alt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/>
              <a:t>https://commitfest.postgresql.org/29/2704/</a:t>
            </a:r>
            <a:endParaRPr lang="zh-CN" alt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/>
              <a:t>https://www.postgresql.org/message-id/f021ea0c-adcf-f663-e26e-66639c078ace%40highgo.ca</a:t>
            </a:r>
            <a:endParaRPr lang="zh-CN" alt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/>
              <a:t>https://www.postgresql.org/message-id/2020091517302192735312%40sina.cn</a:t>
            </a:r>
            <a:endParaRPr lang="zh-CN" alt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900" dirty="0"/>
              <a:t>https://commitfest.postgresql.org/29/2682/</a:t>
            </a:r>
            <a:endParaRPr lang="zh-CN" altLang="en-US" sz="900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本框 16"/>
          <p:cNvSpPr txBox="1"/>
          <p:nvPr/>
        </p:nvSpPr>
        <p:spPr>
          <a:xfrm>
            <a:off x="669923" y="915745"/>
            <a:ext cx="10850565" cy="628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3200" b="1" dirty="0">
                <a:latin typeface="+mj-lt"/>
                <a:ea typeface="+mj-ea"/>
              </a:rPr>
              <a:t>国际交流合作</a:t>
            </a:r>
            <a:endParaRPr lang="zh-CN" altLang="en-US" sz="3200" b="1" dirty="0">
              <a:latin typeface="+mj-lt"/>
              <a:ea typeface="+mj-ea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6515101" y="1642744"/>
            <a:ext cx="5516879" cy="427809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800" dirty="0">
                <a:solidFill>
                  <a:srgbClr val="000000"/>
                </a:solidFill>
                <a:ea typeface="等线" panose="02010600030101010101" charset="-122"/>
              </a:rPr>
              <a:t>https://www.highgo.ca/2021/01/12/the-mapping-of-oid-and-relfilenode-in-pg/</a:t>
            </a:r>
            <a:endParaRPr lang="zh-CN" altLang="en-US" sz="800" dirty="0">
              <a:solidFill>
                <a:srgbClr val="000000"/>
              </a:solidFill>
              <a:ea typeface="等线" panose="02010600030101010101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800" dirty="0">
                <a:solidFill>
                  <a:srgbClr val="000000"/>
                </a:solidFill>
                <a:ea typeface="等线" panose="02010600030101010101" charset="-122"/>
              </a:rPr>
              <a:t>https://www.highgo.ca/2020/12/29/checkpoints-in-postgresql/</a:t>
            </a:r>
            <a:endParaRPr lang="zh-CN" altLang="en-US" sz="800" dirty="0">
              <a:solidFill>
                <a:srgbClr val="000000"/>
              </a:solidFill>
              <a:ea typeface="等线" panose="02010600030101010101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800" dirty="0">
                <a:solidFill>
                  <a:srgbClr val="000000"/>
                </a:solidFill>
                <a:ea typeface="等线" panose="02010600030101010101" charset="-122"/>
              </a:rPr>
              <a:t>https://www.highgo.ca/2020/12/15/how-to-dump-out-a-backtrace-during-runtime/</a:t>
            </a:r>
            <a:endParaRPr lang="zh-CN" altLang="en-US" sz="800" dirty="0">
              <a:solidFill>
                <a:srgbClr val="000000"/>
              </a:solidFill>
              <a:ea typeface="等线" panose="02010600030101010101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800" dirty="0">
                <a:solidFill>
                  <a:srgbClr val="000000"/>
                </a:solidFill>
                <a:ea typeface="等线" panose="02010600030101010101" charset="-122"/>
              </a:rPr>
              <a:t>https://www.highgo.ca/2020/12/14/rise-and-fall-for-an-expected-feature-in-postgresql-transparent-data-encryption/</a:t>
            </a:r>
            <a:endParaRPr lang="zh-CN" altLang="en-US" sz="800" dirty="0">
              <a:solidFill>
                <a:srgbClr val="000000"/>
              </a:solidFill>
              <a:ea typeface="等线" panose="02010600030101010101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800" dirty="0">
                <a:solidFill>
                  <a:srgbClr val="000000"/>
                </a:solidFill>
                <a:ea typeface="等线" panose="02010600030101010101" charset="-122"/>
              </a:rPr>
              <a:t>https://www.highgo.ca/2020/12/10/installing-postgresql-on-centos6-post-eol/</a:t>
            </a:r>
            <a:endParaRPr lang="zh-CN" altLang="en-US" sz="800" dirty="0">
              <a:solidFill>
                <a:srgbClr val="000000"/>
              </a:solidFill>
              <a:ea typeface="等线" panose="02010600030101010101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800" dirty="0">
                <a:solidFill>
                  <a:srgbClr val="000000"/>
                </a:solidFill>
                <a:ea typeface="等线" panose="02010600030101010101" charset="-122"/>
              </a:rPr>
              <a:t>https://www.highgo.ca/2020/12/08/bulk-loading-into-postgresql-options-and-comparison/</a:t>
            </a:r>
            <a:endParaRPr lang="zh-CN" altLang="en-US" sz="800" dirty="0">
              <a:solidFill>
                <a:srgbClr val="000000"/>
              </a:solidFill>
              <a:ea typeface="等线" panose="02010600030101010101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800" dirty="0">
                <a:solidFill>
                  <a:srgbClr val="000000"/>
                </a:solidFill>
                <a:ea typeface="等线" panose="02010600030101010101" charset="-122"/>
              </a:rPr>
              <a:t>https://www.highgo.ca/2020/12/08/whats-the-special-for-logical-level-of-postgresql-wal/</a:t>
            </a:r>
            <a:endParaRPr lang="zh-CN" altLang="en-US" sz="800" dirty="0">
              <a:solidFill>
                <a:srgbClr val="000000"/>
              </a:solidFill>
              <a:ea typeface="等线" panose="02010600030101010101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800" dirty="0">
                <a:solidFill>
                  <a:srgbClr val="000000"/>
                </a:solidFill>
                <a:ea typeface="等线" panose="02010600030101010101" charset="-122"/>
              </a:rPr>
              <a:t>https://www.highgo.ca/2020/11/26/postgresql-high-availability-setup-and-uptime-considerations/</a:t>
            </a:r>
            <a:endParaRPr lang="zh-CN" altLang="en-US" sz="800" dirty="0">
              <a:solidFill>
                <a:srgbClr val="000000"/>
              </a:solidFill>
              <a:ea typeface="等线" panose="02010600030101010101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800" dirty="0">
                <a:solidFill>
                  <a:srgbClr val="000000"/>
                </a:solidFill>
                <a:ea typeface="等线" panose="02010600030101010101" charset="-122"/>
              </a:rPr>
              <a:t>https://www.highgo.ca/2020/11/25/calling-a-stored-procedure-in-postgrsql-from-java-and-its-current-limitations/</a:t>
            </a:r>
            <a:endParaRPr lang="zh-CN" altLang="en-US" sz="800" dirty="0">
              <a:solidFill>
                <a:srgbClr val="000000"/>
              </a:solidFill>
              <a:ea typeface="等线" panose="02010600030101010101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800" dirty="0">
                <a:solidFill>
                  <a:srgbClr val="000000"/>
                </a:solidFill>
                <a:ea typeface="等线" panose="02010600030101010101" charset="-122"/>
              </a:rPr>
              <a:t>https://www.highgo.ca/2020/11/24/technical-overview-of-pg_stat_monitor-extension-a-more-detailed-pg_stat_statements/</a:t>
            </a:r>
            <a:endParaRPr lang="zh-CN" altLang="en-US" sz="800" dirty="0">
              <a:solidFill>
                <a:srgbClr val="000000"/>
              </a:solidFill>
              <a:ea typeface="等线" panose="02010600030101010101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800" dirty="0">
                <a:solidFill>
                  <a:srgbClr val="000000"/>
                </a:solidFill>
                <a:ea typeface="等线" panose="02010600030101010101" charset="-122"/>
              </a:rPr>
              <a:t>https://www.highgo.ca/2020/11/07/how-to-analyze-a-postgresql-crash-dump-file/</a:t>
            </a:r>
            <a:endParaRPr lang="zh-CN" altLang="en-US" sz="800" dirty="0">
              <a:solidFill>
                <a:srgbClr val="000000"/>
              </a:solidFill>
              <a:ea typeface="等线" panose="02010600030101010101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800" dirty="0">
                <a:solidFill>
                  <a:srgbClr val="000000"/>
                </a:solidFill>
                <a:ea typeface="等线" panose="02010600030101010101" charset="-122"/>
              </a:rPr>
              <a:t>https://www.highgo.ca/2020/10/23/free-space-mapping-file-in-details/</a:t>
            </a:r>
            <a:endParaRPr lang="zh-CN" altLang="en-US" sz="800" dirty="0">
              <a:solidFill>
                <a:srgbClr val="000000"/>
              </a:solidFill>
              <a:ea typeface="等线" panose="02010600030101010101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800" dirty="0">
                <a:solidFill>
                  <a:srgbClr val="000000"/>
                </a:solidFill>
                <a:ea typeface="等线" panose="02010600030101010101" charset="-122"/>
              </a:rPr>
              <a:t>https://www.highgo.ca/2020/10/20/the-way-to-store-null-value-in-pg-record/</a:t>
            </a:r>
            <a:endParaRPr lang="zh-CN" altLang="en-US" sz="800" dirty="0">
              <a:solidFill>
                <a:srgbClr val="000000"/>
              </a:solidFill>
              <a:ea typeface="等线" panose="02010600030101010101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800" dirty="0">
                <a:solidFill>
                  <a:srgbClr val="000000"/>
                </a:solidFill>
                <a:ea typeface="等线" panose="02010600030101010101" charset="-122"/>
              </a:rPr>
              <a:t>https://www.highgo.ca/2020/10/09/heap-file-and-page-in-details/</a:t>
            </a:r>
            <a:endParaRPr lang="zh-CN" altLang="en-US" sz="800" dirty="0">
              <a:solidFill>
                <a:srgbClr val="000000"/>
              </a:solidFill>
              <a:ea typeface="等线" panose="02010600030101010101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800" dirty="0">
                <a:solidFill>
                  <a:srgbClr val="000000"/>
                </a:solidFill>
                <a:ea typeface="等线" panose="02010600030101010101" charset="-122"/>
              </a:rPr>
              <a:t>https://www.highgo.ca/2020/10/08/configuring-pgpool-ii-watchdog-its-going-to-be-a-lot-easier/</a:t>
            </a:r>
            <a:endParaRPr lang="zh-CN" altLang="en-US" sz="800" dirty="0">
              <a:solidFill>
                <a:srgbClr val="000000"/>
              </a:solidFill>
              <a:ea typeface="等线" panose="02010600030101010101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800" dirty="0">
                <a:solidFill>
                  <a:srgbClr val="000000"/>
                </a:solidFill>
                <a:ea typeface="等线" panose="02010600030101010101" charset="-122"/>
              </a:rPr>
              <a:t>https://www.highgo.ca/2020/10/01/postgresql-wal-archiving-and-point-in-time-recovery/</a:t>
            </a:r>
            <a:endParaRPr lang="zh-CN" altLang="en-US" sz="800" dirty="0">
              <a:solidFill>
                <a:srgbClr val="000000"/>
              </a:solidFill>
              <a:ea typeface="等线" panose="02010600030101010101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800" dirty="0">
                <a:solidFill>
                  <a:srgbClr val="000000"/>
                </a:solidFill>
                <a:ea typeface="等线" panose="02010600030101010101" charset="-122"/>
              </a:rPr>
              <a:t>https://www.highgo.ca/2020/09/30/pgpool-ii-4-2-features/</a:t>
            </a:r>
            <a:endParaRPr lang="zh-CN" altLang="en-US" sz="800" dirty="0">
              <a:solidFill>
                <a:srgbClr val="000000"/>
              </a:solidFill>
              <a:ea typeface="等线" panose="02010600030101010101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800" dirty="0">
                <a:solidFill>
                  <a:srgbClr val="000000"/>
                </a:solidFill>
                <a:ea typeface="等线" panose="02010600030101010101" charset="-122"/>
              </a:rPr>
              <a:t>https://www.highgo.ca/2020/09/25/in-memory-table-with-pluggable-storage-api/</a:t>
            </a:r>
            <a:endParaRPr lang="zh-CN" altLang="en-US" sz="800" dirty="0">
              <a:solidFill>
                <a:srgbClr val="000000"/>
              </a:solidFill>
              <a:ea typeface="等线" panose="02010600030101010101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800" dirty="0">
                <a:solidFill>
                  <a:srgbClr val="000000"/>
                </a:solidFill>
                <a:ea typeface="等线" panose="02010600030101010101" charset="-122"/>
              </a:rPr>
              <a:t>https://www.highgo.ca/2020/09/15/the-share-invalid-mechanism-of-cache-in-postgresql/</a:t>
            </a:r>
            <a:endParaRPr lang="zh-CN" altLang="en-US" sz="800" dirty="0">
              <a:solidFill>
                <a:srgbClr val="000000"/>
              </a:solidFill>
              <a:ea typeface="等线" panose="02010600030101010101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800" dirty="0">
                <a:solidFill>
                  <a:srgbClr val="000000"/>
                </a:solidFill>
                <a:ea typeface="等线" panose="02010600030101010101" charset="-122"/>
              </a:rPr>
              <a:t>https://www.highgo.ca/2020/09/03/postgresql-backups/</a:t>
            </a:r>
            <a:endParaRPr lang="zh-CN" altLang="en-US" sz="800" dirty="0">
              <a:solidFill>
                <a:srgbClr val="000000"/>
              </a:solidFill>
              <a:ea typeface="等线" panose="02010600030101010101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800" dirty="0">
                <a:solidFill>
                  <a:srgbClr val="000000"/>
                </a:solidFill>
                <a:ea typeface="等线" panose="02010600030101010101" charset="-122"/>
              </a:rPr>
              <a:t>https://www.highgo.ca/2020/08/28/who-is-spending-wal-crazily/</a:t>
            </a:r>
            <a:endParaRPr lang="zh-CN" altLang="en-US" sz="800" dirty="0">
              <a:solidFill>
                <a:srgbClr val="000000"/>
              </a:solidFill>
              <a:ea typeface="等线" panose="02010600030101010101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800" dirty="0">
                <a:solidFill>
                  <a:srgbClr val="000000"/>
                </a:solidFill>
                <a:ea typeface="等线" panose="02010600030101010101" charset="-122"/>
              </a:rPr>
              <a:t>https://www.highgo.ca/2020/08/21/how-to-setup-postgresql-on-an-ipv6-enabled-network/</a:t>
            </a:r>
            <a:endParaRPr lang="zh-CN" altLang="en-US" sz="800" dirty="0">
              <a:solidFill>
                <a:srgbClr val="000000"/>
              </a:solidFill>
              <a:ea typeface="等线" panose="02010600030101010101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800" dirty="0">
                <a:solidFill>
                  <a:srgbClr val="000000"/>
                </a:solidFill>
                <a:ea typeface="等线" panose="02010600030101010101" charset="-122"/>
                <a:sym typeface="+mn-ea"/>
              </a:rPr>
              <a:t>https://www.highgo.ca/2020/08/21/tls-related-updates-in-postgresql-13/</a:t>
            </a:r>
            <a:endParaRPr lang="zh-CN" altLang="en-US" sz="800" dirty="0">
              <a:solidFill>
                <a:srgbClr val="000000"/>
              </a:solidFill>
              <a:ea typeface="等线" panose="02010600030101010101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800" dirty="0">
                <a:solidFill>
                  <a:srgbClr val="000000"/>
                </a:solidFill>
                <a:ea typeface="等线" panose="02010600030101010101" charset="-122"/>
                <a:sym typeface="+mn-ea"/>
              </a:rPr>
              <a:t>https://www.highgo.ca/2020/08/11/consensus-based-failover-with-pgpool-ii/</a:t>
            </a:r>
            <a:endParaRPr lang="zh-CN" altLang="en-US" sz="800" dirty="0">
              <a:solidFill>
                <a:srgbClr val="000000"/>
              </a:solidFill>
              <a:ea typeface="等线" panose="02010600030101010101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800" dirty="0">
                <a:solidFill>
                  <a:srgbClr val="000000"/>
                </a:solidFill>
                <a:ea typeface="等线" panose="02010600030101010101" charset="-122"/>
                <a:sym typeface="+mn-ea"/>
              </a:rPr>
              <a:t>https://www.highgo.ca/2020/08/10/postgresql-high-availability-the-considerations-and-candidates/</a:t>
            </a:r>
            <a:endParaRPr lang="zh-CN" altLang="en-US" sz="800" dirty="0">
              <a:solidFill>
                <a:srgbClr val="000000"/>
              </a:solidFill>
              <a:ea typeface="等线" panose="02010600030101010101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800" dirty="0">
                <a:solidFill>
                  <a:srgbClr val="000000"/>
                </a:solidFill>
                <a:ea typeface="等线" panose="02010600030101010101" charset="-122"/>
                <a:sym typeface="+mn-ea"/>
              </a:rPr>
              <a:t>https://www.highgo.ca/2020/08/08/partitioning-improvements-in-postgresql-13/</a:t>
            </a:r>
            <a:endParaRPr lang="zh-CN" altLang="en-US" sz="800" dirty="0">
              <a:solidFill>
                <a:srgbClr val="000000"/>
              </a:solidFill>
              <a:ea typeface="等线" panose="02010600030101010101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800" dirty="0">
                <a:solidFill>
                  <a:srgbClr val="000000"/>
                </a:solidFill>
                <a:ea typeface="等线" panose="02010600030101010101" charset="-122"/>
                <a:sym typeface="+mn-ea"/>
              </a:rPr>
              <a:t>https://www.highgo.ca/2020/07/24/approaches-to-achieve-in-memory-table-storage-with-postgresql-pluggable-api/</a:t>
            </a:r>
            <a:endParaRPr lang="zh-CN" altLang="en-US" sz="800" dirty="0">
              <a:solidFill>
                <a:srgbClr val="000000"/>
              </a:solidFill>
              <a:ea typeface="等线" panose="02010600030101010101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800" dirty="0">
                <a:solidFill>
                  <a:srgbClr val="000000"/>
                </a:solidFill>
                <a:ea typeface="等线" panose="02010600030101010101" charset="-122"/>
                <a:sym typeface="+mn-ea"/>
              </a:rPr>
              <a:t>https://www.highgo.ca/2020/07/24/the-spi-feature-under-postgresql-kernel/</a:t>
            </a:r>
            <a:endParaRPr lang="zh-CN" altLang="en-US" sz="800" dirty="0">
              <a:solidFill>
                <a:srgbClr val="000000"/>
              </a:solidFill>
              <a:ea typeface="等线" panose="02010600030101010101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800" dirty="0">
                <a:solidFill>
                  <a:srgbClr val="000000"/>
                </a:solidFill>
                <a:ea typeface="等线" panose="02010600030101010101" charset="-122"/>
                <a:sym typeface="+mn-ea"/>
              </a:rPr>
              <a:t>https://www.highgo.ca/2020/07/11/a-simple-way-to-trace-a-bug/</a:t>
            </a:r>
            <a:endParaRPr lang="zh-CN" altLang="en-US" sz="800" dirty="0">
              <a:solidFill>
                <a:srgbClr val="000000"/>
              </a:solidFill>
              <a:ea typeface="等线" panose="02010600030101010101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800" dirty="0">
                <a:solidFill>
                  <a:srgbClr val="000000"/>
                </a:solidFill>
                <a:ea typeface="等线" panose="02010600030101010101" charset="-122"/>
                <a:sym typeface="+mn-ea"/>
              </a:rPr>
              <a:t>https://www.highgo.ca/2020/07/06/features-in-pg13-deduplication-in-b-tree-indexes/</a:t>
            </a:r>
            <a:endParaRPr lang="zh-CN" altLang="en-US" sz="800" dirty="0">
              <a:solidFill>
                <a:srgbClr val="000000"/>
              </a:solidFill>
              <a:ea typeface="等线" panose="02010600030101010101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800" dirty="0">
                <a:solidFill>
                  <a:srgbClr val="000000"/>
                </a:solidFill>
                <a:ea typeface="等线" panose="02010600030101010101" charset="-122"/>
                <a:sym typeface="+mn-ea"/>
              </a:rPr>
              <a:t>https://www.highgo.ca/2020/06/25/authenticating-pgpool-ii-with-ldap/</a:t>
            </a:r>
            <a:endParaRPr lang="zh-CN" altLang="en-US" sz="800" dirty="0">
              <a:solidFill>
                <a:srgbClr val="000000"/>
              </a:solidFill>
              <a:ea typeface="等线" panose="02010600030101010101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800" dirty="0">
                <a:solidFill>
                  <a:srgbClr val="000000"/>
                </a:solidFill>
                <a:ea typeface="等线" panose="02010600030101010101" charset="-122"/>
                <a:sym typeface="+mn-ea"/>
              </a:rPr>
              <a:t>https://www.highgo.ca/2020/06/22/types-of-indexes-in-postgresql/</a:t>
            </a:r>
            <a:endParaRPr lang="zh-CN" altLang="en-US" sz="800" dirty="0">
              <a:solidFill>
                <a:srgbClr val="000000"/>
              </a:solidFill>
              <a:ea typeface="等线" panose="02010600030101010101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800" dirty="0">
                <a:solidFill>
                  <a:srgbClr val="000000"/>
                </a:solidFill>
                <a:ea typeface="等线" panose="02010600030101010101" charset="-122"/>
                <a:sym typeface="+mn-ea"/>
              </a:rPr>
              <a:t>https://www.highgo.ca/2020/06/18/an-overview-of-postgresql-backend-architecture/</a:t>
            </a:r>
            <a:endParaRPr lang="zh-CN" altLang="en-US" sz="800" dirty="0">
              <a:solidFill>
                <a:srgbClr val="000000"/>
              </a:solidFill>
              <a:ea typeface="等线" panose="02010600030101010101" charset="-122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55650" y="1942465"/>
            <a:ext cx="5586730" cy="2941465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本框 16"/>
          <p:cNvSpPr txBox="1"/>
          <p:nvPr/>
        </p:nvSpPr>
        <p:spPr>
          <a:xfrm>
            <a:off x="669923" y="915745"/>
            <a:ext cx="10850565" cy="628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3200" b="1" dirty="0">
                <a:latin typeface="+mj-lt"/>
                <a:ea typeface="+mj-ea"/>
              </a:rPr>
              <a:t>国际交流合作</a:t>
            </a:r>
            <a:endParaRPr lang="zh-CN" altLang="en-US" sz="3200" b="1" dirty="0">
              <a:latin typeface="+mj-lt"/>
              <a:ea typeface="+mj-ea"/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774112" y="1691640"/>
            <a:ext cx="10587308" cy="4234243"/>
            <a:chOff x="766492" y="1584960"/>
            <a:chExt cx="11059748" cy="4423189"/>
          </a:xfrm>
        </p:grpSpPr>
        <p:pic>
          <p:nvPicPr>
            <p:cNvPr id="5" name="Google Shape;302;gb60b809e84_0_31"/>
            <p:cNvPicPr preferRelativeResize="0"/>
            <p:nvPr/>
          </p:nvPicPr>
          <p:blipFill rotWithShape="1">
            <a:blip r:embed="rId1"/>
            <a:srcRect t="15646"/>
            <a:stretch>
              <a:fillRect/>
            </a:stretch>
          </p:blipFill>
          <p:spPr>
            <a:xfrm>
              <a:off x="766492" y="1584960"/>
              <a:ext cx="4394716" cy="245452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" name="Google Shape;303;gb60b809e84_0_31"/>
            <p:cNvPicPr preferRelativeResize="0"/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colorTemperature colorTemp="88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5245075" y="1586887"/>
              <a:ext cx="6581165" cy="442126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7" name="Google Shape;304;gb60b809e84_0_31"/>
            <p:cNvPicPr preferRelativeResize="0"/>
            <p:nvPr/>
          </p:nvPicPr>
          <p:blipFill>
            <a:blip r:embed="rId4"/>
            <a:stretch>
              <a:fillRect/>
            </a:stretch>
          </p:blipFill>
          <p:spPr>
            <a:xfrm>
              <a:off x="766492" y="4109124"/>
              <a:ext cx="2855501" cy="189065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" name="Google Shape;305;gb60b809e84_0_31"/>
            <p:cNvPicPr preferRelativeResize="0"/>
            <p:nvPr/>
          </p:nvPicPr>
          <p:blipFill>
            <a:blip r:embed="rId5"/>
            <a:stretch>
              <a:fillRect/>
            </a:stretch>
          </p:blipFill>
          <p:spPr>
            <a:xfrm>
              <a:off x="3743201" y="4109124"/>
              <a:ext cx="1418007" cy="1890645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本框 16"/>
          <p:cNvSpPr txBox="1"/>
          <p:nvPr/>
        </p:nvSpPr>
        <p:spPr>
          <a:xfrm>
            <a:off x="669923" y="915745"/>
            <a:ext cx="10850565" cy="628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3200" b="1" dirty="0">
                <a:latin typeface="+mj-lt"/>
                <a:ea typeface="+mj-ea"/>
              </a:rPr>
              <a:t>国际交流合作</a:t>
            </a:r>
            <a:endParaRPr lang="zh-CN" altLang="en-US" sz="3200" b="1" dirty="0">
              <a:latin typeface="+mj-lt"/>
              <a:ea typeface="+mj-ea"/>
            </a:endParaRPr>
          </a:p>
        </p:txBody>
      </p:sp>
      <p:grpSp>
        <p:nvGrpSpPr>
          <p:cNvPr id="12" name="组合 11"/>
          <p:cNvGrpSpPr/>
          <p:nvPr/>
        </p:nvGrpSpPr>
        <p:grpSpPr>
          <a:xfrm>
            <a:off x="749882" y="1668776"/>
            <a:ext cx="10511343" cy="918781"/>
            <a:chOff x="743397" y="1649321"/>
            <a:chExt cx="10511343" cy="918781"/>
          </a:xfrm>
        </p:grpSpPr>
        <p:sp>
          <p:nvSpPr>
            <p:cNvPr id="4" name="矩形 3"/>
            <p:cNvSpPr/>
            <p:nvPr/>
          </p:nvSpPr>
          <p:spPr>
            <a:xfrm>
              <a:off x="6652260" y="1688803"/>
              <a:ext cx="4602480" cy="879299"/>
            </a:xfrm>
            <a:prstGeom prst="rect">
              <a:avLst/>
            </a:prstGeom>
            <a:solidFill>
              <a:srgbClr val="008E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8" name="图片 7"/>
            <p:cNvPicPr>
              <a:picLocks noChangeAspect="1"/>
            </p:cNvPicPr>
            <p:nvPr/>
          </p:nvPicPr>
          <p:blipFill rotWithShape="1">
            <a:blip r:embed="rId1"/>
            <a:srcRect r="936" b="14600"/>
            <a:stretch>
              <a:fillRect/>
            </a:stretch>
          </p:blipFill>
          <p:spPr>
            <a:xfrm>
              <a:off x="743397" y="1649321"/>
              <a:ext cx="6076503" cy="915722"/>
            </a:xfrm>
            <a:prstGeom prst="rect">
              <a:avLst/>
            </a:prstGeom>
          </p:spPr>
        </p:pic>
      </p:grpSp>
      <p:grpSp>
        <p:nvGrpSpPr>
          <p:cNvPr id="3" name="组合 2"/>
          <p:cNvGrpSpPr/>
          <p:nvPr/>
        </p:nvGrpSpPr>
        <p:grpSpPr>
          <a:xfrm>
            <a:off x="769538" y="2676536"/>
            <a:ext cx="10487522" cy="2909271"/>
            <a:chOff x="759290" y="2617470"/>
            <a:chExt cx="11237130" cy="3117215"/>
          </a:xfrm>
        </p:grpSpPr>
        <p:pic>
          <p:nvPicPr>
            <p:cNvPr id="9" name="图片 231" descr="C:\Users\MateBook\AppData\Local\Temp\WeChat Files\f6ed82d1b237f083629cb74b60a5f46.png"/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31"/>
            <a:stretch>
              <a:fillRect/>
            </a:stretch>
          </p:blipFill>
          <p:spPr>
            <a:xfrm>
              <a:off x="759290" y="2625090"/>
              <a:ext cx="5165259" cy="310515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" name="图片 1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885180" y="2617470"/>
              <a:ext cx="6111240" cy="3117215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本框 16"/>
          <p:cNvSpPr txBox="1"/>
          <p:nvPr/>
        </p:nvSpPr>
        <p:spPr>
          <a:xfrm>
            <a:off x="669923" y="915745"/>
            <a:ext cx="10850565" cy="628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3200" b="1" dirty="0">
                <a:latin typeface="+mj-lt"/>
                <a:ea typeface="+mj-ea"/>
              </a:rPr>
              <a:t>国际交流合作</a:t>
            </a:r>
            <a:endParaRPr lang="zh-CN" altLang="en-US" sz="3200" b="1" dirty="0">
              <a:latin typeface="+mj-lt"/>
              <a:ea typeface="+mj-ea"/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783091" y="1637031"/>
            <a:ext cx="10759699" cy="3979071"/>
            <a:chOff x="776606" y="1637031"/>
            <a:chExt cx="10376375" cy="3837313"/>
          </a:xfrm>
        </p:grpSpPr>
        <p:pic>
          <p:nvPicPr>
            <p:cNvPr id="7" name="图片 6"/>
            <p:cNvPicPr>
              <a:picLocks noChangeAspect="1"/>
            </p:cNvPicPr>
            <p:nvPr/>
          </p:nvPicPr>
          <p:blipFill>
            <a:blip r:embed="rId1"/>
            <a:stretch>
              <a:fillRect/>
            </a:stretch>
          </p:blipFill>
          <p:spPr>
            <a:xfrm>
              <a:off x="7571381" y="1637031"/>
              <a:ext cx="3581600" cy="1847850"/>
            </a:xfrm>
            <a:prstGeom prst="rect">
              <a:avLst/>
            </a:prstGeom>
          </p:spPr>
        </p:pic>
        <p:pic>
          <p:nvPicPr>
            <p:cNvPr id="10" name="图片 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035362" y="1637031"/>
              <a:ext cx="3357964" cy="1847850"/>
            </a:xfrm>
            <a:prstGeom prst="rect">
              <a:avLst/>
            </a:prstGeom>
          </p:spPr>
        </p:pic>
        <p:pic>
          <p:nvPicPr>
            <p:cNvPr id="12" name="图片 1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6606" y="1637031"/>
              <a:ext cx="3080701" cy="1847850"/>
            </a:xfrm>
            <a:prstGeom prst="rect">
              <a:avLst/>
            </a:prstGeom>
          </p:spPr>
        </p:pic>
        <p:pic>
          <p:nvPicPr>
            <p:cNvPr id="13" name="Google Shape;311;gb60b809e84_0_42"/>
            <p:cNvPicPr preferRelativeResize="0"/>
            <p:nvPr/>
          </p:nvPicPr>
          <p:blipFill rotWithShape="1">
            <a:blip r:embed="rId4"/>
            <a:srcRect t="18928" b="20570"/>
            <a:stretch>
              <a:fillRect/>
            </a:stretch>
          </p:blipFill>
          <p:spPr>
            <a:xfrm>
              <a:off x="776606" y="3606352"/>
              <a:ext cx="4371716" cy="1858081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4" name="Google Shape;312;gb60b809e84_0_42"/>
            <p:cNvPicPr preferRelativeResize="0"/>
            <p:nvPr/>
          </p:nvPicPr>
          <p:blipFill rotWithShape="1">
            <a:blip r:embed="rId5"/>
            <a:srcRect l="16312" r="5896"/>
            <a:stretch>
              <a:fillRect/>
            </a:stretch>
          </p:blipFill>
          <p:spPr>
            <a:xfrm>
              <a:off x="5264933" y="3606352"/>
              <a:ext cx="3132333" cy="186799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5" name="Google Shape;314;gb60b809e84_0_42"/>
            <p:cNvPicPr preferRelativeResize="0"/>
            <p:nvPr/>
          </p:nvPicPr>
          <p:blipFill>
            <a:blip r:embed="rId6"/>
            <a:stretch>
              <a:fillRect/>
            </a:stretch>
          </p:blipFill>
          <p:spPr>
            <a:xfrm>
              <a:off x="8513877" y="3606352"/>
              <a:ext cx="2639104" cy="1858202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本框 16"/>
          <p:cNvSpPr txBox="1"/>
          <p:nvPr/>
        </p:nvSpPr>
        <p:spPr>
          <a:xfrm>
            <a:off x="669923" y="915745"/>
            <a:ext cx="10850565" cy="628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3200" b="1" dirty="0">
                <a:latin typeface="+mj-lt"/>
                <a:ea typeface="+mj-ea"/>
              </a:rPr>
              <a:t>国际交流合作</a:t>
            </a:r>
            <a:endParaRPr lang="zh-CN" altLang="en-US" sz="3200" b="1" dirty="0">
              <a:latin typeface="+mj-lt"/>
              <a:ea typeface="+mj-ea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748030" y="1811168"/>
            <a:ext cx="6445250" cy="326204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342900" indent="-34290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uFillTx/>
                <a:latin typeface="+mj-ea"/>
                <a:ea typeface="+mj-ea"/>
                <a:sym typeface="Roboto" panose="02000000000000000000"/>
              </a:rPr>
              <a:t>加拿大</a:t>
            </a:r>
            <a:r>
              <a:rPr lang="en-US" altLang="zh-CN" sz="1600" dirty="0">
                <a:solidFill>
                  <a:schemeClr val="tx1"/>
                </a:solidFill>
                <a:uFillTx/>
                <a:latin typeface="+mj-ea"/>
                <a:ea typeface="+mj-ea"/>
                <a:sym typeface="Roboto" panose="02000000000000000000"/>
              </a:rPr>
              <a:t>PG</a:t>
            </a:r>
            <a:r>
              <a:rPr lang="zh-CN" altLang="en-US" sz="1600" dirty="0">
                <a:solidFill>
                  <a:schemeClr val="tx1"/>
                </a:solidFill>
                <a:uFillTx/>
                <a:latin typeface="+mj-ea"/>
                <a:ea typeface="+mj-ea"/>
                <a:sym typeface="Roboto" panose="02000000000000000000"/>
              </a:rPr>
              <a:t>全球开发者大会赞助商</a:t>
            </a:r>
            <a:r>
              <a:rPr lang="en-US" altLang="zh-CN" sz="1600" dirty="0">
                <a:solidFill>
                  <a:schemeClr val="tx1"/>
                </a:solidFill>
                <a:uFillTx/>
                <a:latin typeface="+mj-ea"/>
                <a:ea typeface="+mj-ea"/>
                <a:sym typeface="Roboto" panose="02000000000000000000"/>
              </a:rPr>
              <a:t>+</a:t>
            </a:r>
            <a:r>
              <a:rPr lang="zh-CN" altLang="en-US" sz="1600" dirty="0">
                <a:solidFill>
                  <a:schemeClr val="tx1"/>
                </a:solidFill>
                <a:uFillTx/>
                <a:latin typeface="+mj-ea"/>
                <a:ea typeface="+mj-ea"/>
                <a:sym typeface="Roboto" panose="02000000000000000000"/>
              </a:rPr>
              <a:t>中国主要参与者</a:t>
            </a:r>
            <a:r>
              <a:rPr lang="en-US" altLang="zh-CN" sz="1600" dirty="0">
                <a:solidFill>
                  <a:schemeClr val="tx1"/>
                </a:solidFill>
                <a:uFillTx/>
                <a:latin typeface="+mj-ea"/>
                <a:ea typeface="+mj-ea"/>
                <a:sym typeface="Roboto" panose="02000000000000000000"/>
              </a:rPr>
              <a:t>+</a:t>
            </a:r>
            <a:r>
              <a:rPr lang="zh-CN" altLang="en-US" sz="1600" dirty="0">
                <a:solidFill>
                  <a:schemeClr val="tx1"/>
                </a:solidFill>
                <a:uFillTx/>
                <a:latin typeface="+mj-ea"/>
                <a:ea typeface="+mj-ea"/>
                <a:sym typeface="Roboto" panose="02000000000000000000"/>
              </a:rPr>
              <a:t>演讲提供 </a:t>
            </a:r>
            <a:endParaRPr lang="zh-CN" altLang="en-US" sz="1600" dirty="0">
              <a:solidFill>
                <a:schemeClr val="tx1"/>
              </a:solidFill>
              <a:uFillTx/>
              <a:latin typeface="+mj-ea"/>
              <a:ea typeface="+mj-ea"/>
              <a:sym typeface="Roboto" panose="02000000000000000000"/>
            </a:endParaRPr>
          </a:p>
          <a:p>
            <a:pPr marL="342900" indent="-34290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uFillTx/>
                <a:latin typeface="+mj-ea"/>
                <a:ea typeface="+mj-ea"/>
                <a:sym typeface="Roboto" panose="02000000000000000000"/>
              </a:rPr>
              <a:t>美国</a:t>
            </a:r>
            <a:r>
              <a:rPr lang="en-US" altLang="zh-CN" sz="1600" dirty="0">
                <a:solidFill>
                  <a:schemeClr val="tx1"/>
                </a:solidFill>
                <a:uFillTx/>
                <a:latin typeface="+mj-ea"/>
                <a:ea typeface="+mj-ea"/>
                <a:sym typeface="Roboto" panose="02000000000000000000"/>
              </a:rPr>
              <a:t>PG</a:t>
            </a:r>
            <a:r>
              <a:rPr lang="zh-CN" altLang="en-US" sz="1600" dirty="0">
                <a:solidFill>
                  <a:schemeClr val="tx1"/>
                </a:solidFill>
                <a:uFillTx/>
                <a:latin typeface="+mj-ea"/>
                <a:ea typeface="+mj-ea"/>
                <a:sym typeface="Roboto" panose="02000000000000000000"/>
              </a:rPr>
              <a:t>用户大会赞助商</a:t>
            </a:r>
            <a:r>
              <a:rPr lang="en-US" altLang="zh-CN" sz="1600" dirty="0">
                <a:solidFill>
                  <a:schemeClr val="tx1"/>
                </a:solidFill>
                <a:uFillTx/>
                <a:latin typeface="+mj-ea"/>
                <a:ea typeface="+mj-ea"/>
                <a:sym typeface="Roboto" panose="02000000000000000000"/>
              </a:rPr>
              <a:t>+</a:t>
            </a:r>
            <a:r>
              <a:rPr lang="zh-CN" altLang="en-US" sz="1600" dirty="0">
                <a:solidFill>
                  <a:schemeClr val="tx1"/>
                </a:solidFill>
                <a:uFillTx/>
                <a:latin typeface="+mj-ea"/>
                <a:ea typeface="+mj-ea"/>
                <a:sym typeface="Roboto" panose="02000000000000000000"/>
              </a:rPr>
              <a:t>中国主要参与者</a:t>
            </a:r>
            <a:r>
              <a:rPr lang="en-US" altLang="zh-CN" sz="1600" dirty="0">
                <a:solidFill>
                  <a:schemeClr val="tx1"/>
                </a:solidFill>
                <a:uFillTx/>
                <a:latin typeface="+mj-ea"/>
                <a:ea typeface="+mj-ea"/>
                <a:sym typeface="Roboto" panose="02000000000000000000"/>
              </a:rPr>
              <a:t>+</a:t>
            </a:r>
            <a:r>
              <a:rPr lang="zh-CN" altLang="en-US" sz="1600" dirty="0">
                <a:solidFill>
                  <a:schemeClr val="tx1"/>
                </a:solidFill>
                <a:uFillTx/>
                <a:latin typeface="+mj-ea"/>
                <a:ea typeface="+mj-ea"/>
                <a:sym typeface="Roboto" panose="02000000000000000000"/>
              </a:rPr>
              <a:t>演讲提供（会议影响范围超过</a:t>
            </a:r>
            <a:r>
              <a:rPr lang="en-US" altLang="zh-CN" sz="1600" dirty="0">
                <a:solidFill>
                  <a:schemeClr val="tx1"/>
                </a:solidFill>
                <a:uFillTx/>
                <a:latin typeface="+mj-ea"/>
                <a:ea typeface="+mj-ea"/>
                <a:sym typeface="Roboto" panose="02000000000000000000"/>
              </a:rPr>
              <a:t>3000</a:t>
            </a:r>
            <a:r>
              <a:rPr lang="zh-CN" altLang="en-US" sz="1600" dirty="0">
                <a:solidFill>
                  <a:schemeClr val="tx1"/>
                </a:solidFill>
                <a:uFillTx/>
                <a:latin typeface="+mj-ea"/>
                <a:ea typeface="+mj-ea"/>
                <a:sym typeface="Roboto" panose="02000000000000000000"/>
              </a:rPr>
              <a:t>人）</a:t>
            </a:r>
            <a:endParaRPr lang="zh-CN" altLang="en-US" sz="1600" dirty="0">
              <a:solidFill>
                <a:schemeClr val="tx1"/>
              </a:solidFill>
              <a:uFillTx/>
              <a:latin typeface="+mj-ea"/>
              <a:ea typeface="+mj-ea"/>
              <a:sym typeface="Roboto" panose="02000000000000000000"/>
            </a:endParaRPr>
          </a:p>
          <a:p>
            <a:pPr marL="342900" indent="-34290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uFillTx/>
                <a:latin typeface="+mj-ea"/>
                <a:ea typeface="+mj-ea"/>
                <a:sym typeface="Roboto" panose="02000000000000000000"/>
              </a:rPr>
              <a:t>美国</a:t>
            </a:r>
            <a:r>
              <a:rPr lang="en-US" altLang="zh-CN" sz="1600" dirty="0">
                <a:solidFill>
                  <a:schemeClr val="tx1"/>
                </a:solidFill>
                <a:uFillTx/>
                <a:latin typeface="+mj-ea"/>
                <a:ea typeface="+mj-ea"/>
                <a:sym typeface="Roboto" panose="02000000000000000000"/>
              </a:rPr>
              <a:t>PGOPEN / PGVISION</a:t>
            </a:r>
            <a:r>
              <a:rPr lang="zh-CN" altLang="en-US" sz="1600" dirty="0">
                <a:solidFill>
                  <a:schemeClr val="tx1"/>
                </a:solidFill>
                <a:uFillTx/>
                <a:latin typeface="+mj-ea"/>
                <a:ea typeface="+mj-ea"/>
                <a:sym typeface="Roboto" panose="02000000000000000000"/>
              </a:rPr>
              <a:t>会议</a:t>
            </a:r>
            <a:endParaRPr lang="zh-CN" altLang="en-US" sz="1600" dirty="0">
              <a:solidFill>
                <a:schemeClr val="tx1"/>
              </a:solidFill>
              <a:uFillTx/>
              <a:latin typeface="+mj-ea"/>
              <a:ea typeface="+mj-ea"/>
              <a:sym typeface="Roboto" panose="02000000000000000000"/>
            </a:endParaRPr>
          </a:p>
          <a:p>
            <a:pPr marL="342900" indent="-34290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+mj-ea"/>
                <a:ea typeface="+mj-ea"/>
                <a:sym typeface="Roboto" panose="02000000000000000000"/>
              </a:rPr>
              <a:t>加拿大温哥华</a:t>
            </a:r>
            <a:r>
              <a:rPr lang="en-US" altLang="zh-CN" sz="1600" dirty="0">
                <a:solidFill>
                  <a:schemeClr val="tx1"/>
                </a:solidFill>
                <a:latin typeface="+mj-ea"/>
                <a:ea typeface="+mj-ea"/>
                <a:sym typeface="Roboto" panose="02000000000000000000"/>
              </a:rPr>
              <a:t>PG</a:t>
            </a:r>
            <a:r>
              <a:rPr lang="zh-CN" altLang="en-US" sz="1600" dirty="0">
                <a:solidFill>
                  <a:schemeClr val="tx1"/>
                </a:solidFill>
                <a:latin typeface="+mj-ea"/>
                <a:ea typeface="+mj-ea"/>
                <a:sym typeface="Roboto" panose="02000000000000000000"/>
              </a:rPr>
              <a:t>本地活动组织方</a:t>
            </a:r>
            <a:endParaRPr lang="zh-CN" altLang="en-US" sz="1600" dirty="0">
              <a:solidFill>
                <a:schemeClr val="tx1"/>
              </a:solidFill>
              <a:latin typeface="+mj-ea"/>
              <a:ea typeface="+mj-ea"/>
              <a:sym typeface="Roboto" panose="02000000000000000000"/>
            </a:endParaRPr>
          </a:p>
          <a:p>
            <a:pPr marL="342900" indent="-34290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+mj-ea"/>
                <a:ea typeface="+mj-ea"/>
                <a:sym typeface="Roboto" panose="02000000000000000000"/>
              </a:rPr>
              <a:t>美国西雅图</a:t>
            </a:r>
            <a:r>
              <a:rPr lang="en-US" altLang="zh-CN" sz="1600" dirty="0">
                <a:solidFill>
                  <a:schemeClr val="tx1"/>
                </a:solidFill>
                <a:latin typeface="+mj-ea"/>
                <a:ea typeface="+mj-ea"/>
                <a:sym typeface="Roboto" panose="02000000000000000000"/>
              </a:rPr>
              <a:t>PG</a:t>
            </a:r>
            <a:r>
              <a:rPr lang="zh-CN" altLang="en-US" sz="1600" dirty="0">
                <a:solidFill>
                  <a:schemeClr val="tx1"/>
                </a:solidFill>
                <a:latin typeface="+mj-ea"/>
                <a:ea typeface="+mj-ea"/>
                <a:sym typeface="Roboto" panose="02000000000000000000"/>
              </a:rPr>
              <a:t>活动参与者</a:t>
            </a:r>
            <a:endParaRPr lang="en-US" altLang="zh-CN" sz="1600" dirty="0">
              <a:solidFill>
                <a:schemeClr val="tx1"/>
              </a:solidFill>
              <a:uFillTx/>
              <a:latin typeface="+mj-ea"/>
              <a:ea typeface="+mj-ea"/>
              <a:sym typeface="Roboto" panose="02000000000000000000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zh-CN" sz="1600" dirty="0">
                <a:uFillTx/>
                <a:latin typeface="+mj-ea"/>
                <a:ea typeface="+mj-ea"/>
                <a:sym typeface="Roboto" panose="02000000000000000000"/>
              </a:rPr>
              <a:t>PG</a:t>
            </a:r>
            <a:r>
              <a:rPr lang="zh-CN" altLang="en-US" sz="1600" dirty="0">
                <a:uFillTx/>
                <a:latin typeface="+mj-ea"/>
                <a:ea typeface="+mj-ea"/>
                <a:sym typeface="Roboto" panose="02000000000000000000"/>
              </a:rPr>
              <a:t>亚洲大会（日本、印尼）参与者，演讲提供，主办方</a:t>
            </a:r>
            <a:endParaRPr lang="zh-CN" altLang="en-US" sz="1600" dirty="0">
              <a:solidFill>
                <a:schemeClr val="tx1"/>
              </a:solidFill>
              <a:latin typeface="+mj-ea"/>
              <a:ea typeface="+mj-ea"/>
              <a:sym typeface="Roboto" panose="02000000000000000000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+mj-ea"/>
                <a:ea typeface="+mj-ea"/>
                <a:sym typeface="Roboto" panose="02000000000000000000"/>
              </a:rPr>
              <a:t>中国</a:t>
            </a:r>
            <a:r>
              <a:rPr lang="en-US" altLang="zh-CN" sz="1600" dirty="0">
                <a:solidFill>
                  <a:schemeClr val="tx1"/>
                </a:solidFill>
                <a:latin typeface="+mj-ea"/>
                <a:ea typeface="+mj-ea"/>
                <a:sym typeface="Roboto" panose="02000000000000000000"/>
              </a:rPr>
              <a:t>PG</a:t>
            </a:r>
            <a:r>
              <a:rPr lang="zh-CN" altLang="en-US" sz="1600" dirty="0">
                <a:solidFill>
                  <a:schemeClr val="tx1"/>
                </a:solidFill>
                <a:latin typeface="+mj-ea"/>
                <a:ea typeface="+mj-ea"/>
                <a:sym typeface="Roboto" panose="02000000000000000000"/>
              </a:rPr>
              <a:t>用户大会会议赞助 </a:t>
            </a:r>
            <a:r>
              <a:rPr lang="en-US" altLang="zh-CN" sz="1600" dirty="0">
                <a:solidFill>
                  <a:schemeClr val="tx1"/>
                </a:solidFill>
                <a:latin typeface="+mj-ea"/>
                <a:ea typeface="+mj-ea"/>
                <a:sym typeface="Roboto" panose="02000000000000000000"/>
              </a:rPr>
              <a:t>+ </a:t>
            </a:r>
            <a:r>
              <a:rPr lang="zh-CN" altLang="en-US" sz="1600" dirty="0">
                <a:solidFill>
                  <a:schemeClr val="tx1"/>
                </a:solidFill>
                <a:latin typeface="+mj-ea"/>
                <a:ea typeface="+mj-ea"/>
                <a:sym typeface="Roboto" panose="02000000000000000000"/>
              </a:rPr>
              <a:t>协助组织</a:t>
            </a:r>
            <a:endParaRPr lang="zh-CN" altLang="en-US" sz="1600" dirty="0">
              <a:solidFill>
                <a:schemeClr val="tx1"/>
              </a:solidFill>
              <a:latin typeface="+mj-ea"/>
              <a:ea typeface="+mj-ea"/>
              <a:sym typeface="Roboto" panose="02000000000000000000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+mj-ea"/>
                <a:ea typeface="+mj-ea"/>
                <a:sym typeface="Roboto" panose="02000000000000000000"/>
              </a:rPr>
              <a:t>主办</a:t>
            </a:r>
            <a:r>
              <a:rPr lang="en-US" altLang="zh-CN" sz="1600" dirty="0">
                <a:solidFill>
                  <a:schemeClr val="tx1"/>
                </a:solidFill>
                <a:latin typeface="+mj-ea"/>
                <a:ea typeface="+mj-ea"/>
                <a:sym typeface="Roboto" panose="02000000000000000000"/>
              </a:rPr>
              <a:t>PG“</a:t>
            </a:r>
            <a:r>
              <a:rPr lang="zh-CN" altLang="en-US" sz="1600" dirty="0">
                <a:solidFill>
                  <a:schemeClr val="tx1"/>
                </a:solidFill>
                <a:latin typeface="+mj-ea"/>
                <a:ea typeface="+mj-ea"/>
                <a:sym typeface="Roboto" panose="02000000000000000000"/>
              </a:rPr>
              <a:t>象”前行全国</a:t>
            </a:r>
            <a:r>
              <a:rPr lang="en-US" altLang="zh-CN" sz="1600" dirty="0">
                <a:solidFill>
                  <a:schemeClr val="tx1"/>
                </a:solidFill>
                <a:latin typeface="+mj-ea"/>
                <a:ea typeface="+mj-ea"/>
                <a:sym typeface="Roboto" panose="02000000000000000000"/>
              </a:rPr>
              <a:t>PG</a:t>
            </a:r>
            <a:r>
              <a:rPr lang="zh-CN" altLang="en-US" sz="1600" dirty="0">
                <a:solidFill>
                  <a:schemeClr val="tx1"/>
                </a:solidFill>
                <a:latin typeface="+mj-ea"/>
                <a:ea typeface="+mj-ea"/>
                <a:sym typeface="Roboto" panose="02000000000000000000"/>
              </a:rPr>
              <a:t>推广活动</a:t>
            </a:r>
            <a:endParaRPr lang="zh-CN" altLang="en-US" sz="1600" dirty="0">
              <a:solidFill>
                <a:schemeClr val="tx1"/>
              </a:solidFill>
              <a:latin typeface="+mj-ea"/>
              <a:ea typeface="+mj-ea"/>
              <a:sym typeface="Roboto" panose="02000000000000000000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+mj-ea"/>
                <a:ea typeface="+mj-ea"/>
                <a:sym typeface="Roboto" panose="02000000000000000000"/>
              </a:rPr>
              <a:t>中日韩开源峰会组织者</a:t>
            </a:r>
            <a:r>
              <a:rPr lang="en-US" altLang="zh-CN" sz="1600" dirty="0">
                <a:solidFill>
                  <a:schemeClr val="tx1"/>
                </a:solidFill>
                <a:latin typeface="+mj-ea"/>
                <a:ea typeface="+mj-ea"/>
                <a:sym typeface="Roboto" panose="02000000000000000000"/>
              </a:rPr>
              <a:t>+</a:t>
            </a:r>
            <a:r>
              <a:rPr lang="zh-CN" altLang="en-US" sz="1600" dirty="0">
                <a:solidFill>
                  <a:schemeClr val="tx1"/>
                </a:solidFill>
                <a:latin typeface="+mj-ea"/>
                <a:ea typeface="+mj-ea"/>
                <a:sym typeface="Roboto" panose="02000000000000000000"/>
              </a:rPr>
              <a:t>参与者</a:t>
            </a:r>
            <a:endParaRPr lang="zh-CN" altLang="en-US" sz="1600" dirty="0">
              <a:solidFill>
                <a:schemeClr val="tx1"/>
              </a:solidFill>
              <a:latin typeface="+mj-ea"/>
              <a:ea typeface="+mj-ea"/>
              <a:sym typeface="Roboto" panose="02000000000000000000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7902153" y="1089572"/>
            <a:ext cx="3564000" cy="4689464"/>
            <a:chOff x="4353503" y="1885780"/>
            <a:chExt cx="3564000" cy="4689464"/>
          </a:xfrm>
        </p:grpSpPr>
        <p:pic>
          <p:nvPicPr>
            <p:cNvPr id="2" name="图片 1"/>
            <p:cNvPicPr>
              <a:picLocks noChangeAspect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53503" y="3444921"/>
              <a:ext cx="3564000" cy="1517669"/>
            </a:xfrm>
            <a:prstGeom prst="rect">
              <a:avLst/>
            </a:prstGeom>
          </p:spPr>
        </p:pic>
        <p:pic>
          <p:nvPicPr>
            <p:cNvPr id="3" name="图片 2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53503" y="5055870"/>
              <a:ext cx="3564000" cy="1519374"/>
            </a:xfrm>
            <a:prstGeom prst="rect">
              <a:avLst/>
            </a:prstGeom>
          </p:spPr>
        </p:pic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353503" y="1885780"/>
              <a:ext cx="3564000" cy="1465862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圆角矩形 3"/>
          <p:cNvSpPr/>
          <p:nvPr/>
        </p:nvSpPr>
        <p:spPr>
          <a:xfrm>
            <a:off x="1943100" y="1935480"/>
            <a:ext cx="3901440" cy="434340"/>
          </a:xfrm>
          <a:prstGeom prst="roundRect">
            <a:avLst>
              <a:gd name="adj" fmla="val 50000"/>
            </a:avLst>
          </a:prstGeom>
          <a:solidFill>
            <a:srgbClr val="FCE6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文本框 16"/>
          <p:cNvSpPr txBox="1"/>
          <p:nvPr/>
        </p:nvSpPr>
        <p:spPr>
          <a:xfrm>
            <a:off x="669923" y="915745"/>
            <a:ext cx="10850565" cy="628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3200" b="1" dirty="0">
                <a:latin typeface="+mj-lt"/>
                <a:ea typeface="+mj-ea"/>
              </a:rPr>
              <a:t>开源贡献</a:t>
            </a:r>
            <a:endParaRPr lang="zh-CN" altLang="en-US" sz="3200" b="1" dirty="0">
              <a:latin typeface="+mj-lt"/>
              <a:ea typeface="+mj-ea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706755" y="1967865"/>
            <a:ext cx="501586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b="1" dirty="0"/>
              <a:t>开源网址：  </a:t>
            </a:r>
            <a:r>
              <a:rPr lang="zh-CN" altLang="en-US" dirty="0"/>
              <a:t>https://github.com/HighgoSoftware/</a:t>
            </a:r>
            <a:endParaRPr lang="zh-CN" altLang="en-US" dirty="0"/>
          </a:p>
        </p:txBody>
      </p:sp>
      <p:sp>
        <p:nvSpPr>
          <p:cNvPr id="10" name="文本框 9"/>
          <p:cNvSpPr txBox="1"/>
          <p:nvPr/>
        </p:nvSpPr>
        <p:spPr>
          <a:xfrm>
            <a:off x="753745" y="2510155"/>
            <a:ext cx="5946140" cy="1476375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 err="1">
                <a:solidFill>
                  <a:schemeClr val="tx1"/>
                </a:solidFill>
              </a:rPr>
              <a:t>XLogMiner</a:t>
            </a:r>
            <a:r>
              <a:rPr lang="zh-CN" altLang="en-CA" dirty="0">
                <a:solidFill>
                  <a:schemeClr val="tx1"/>
                </a:solidFill>
                <a:sym typeface="+mn-ea"/>
              </a:rPr>
              <a:t>（</a:t>
            </a:r>
            <a:r>
              <a:rPr lang="zh-CN" altLang="en-US" dirty="0">
                <a:solidFill>
                  <a:schemeClr val="tx1"/>
                </a:solidFill>
                <a:sym typeface="+mn-ea"/>
              </a:rPr>
              <a:t>近</a:t>
            </a:r>
            <a:r>
              <a:rPr lang="en-US" altLang="zh-CN" dirty="0">
                <a:solidFill>
                  <a:schemeClr val="tx1"/>
                </a:solidFill>
                <a:sym typeface="+mn-ea"/>
              </a:rPr>
              <a:t>1</a:t>
            </a:r>
            <a:r>
              <a:rPr lang="zh-CN" altLang="en-US" dirty="0">
                <a:solidFill>
                  <a:schemeClr val="tx1"/>
                </a:solidFill>
                <a:sym typeface="+mn-ea"/>
              </a:rPr>
              <a:t>万行代码）</a:t>
            </a:r>
            <a:endParaRPr lang="en-US" altLang="zh-CN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 err="1">
                <a:solidFill>
                  <a:schemeClr val="tx1"/>
                </a:solidFill>
              </a:rPr>
              <a:t>hg_repmgr</a:t>
            </a:r>
            <a:endParaRPr lang="en-US" altLang="zh-CN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>
                <a:solidFill>
                  <a:schemeClr val="tx1"/>
                </a:solidFill>
              </a:rPr>
              <a:t>wal2mongo</a:t>
            </a:r>
            <a:endParaRPr lang="en-US" altLang="zh-CN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 err="1">
                <a:solidFill>
                  <a:schemeClr val="tx1"/>
                </a:solidFill>
              </a:rPr>
              <a:t>orc_fdw</a:t>
            </a:r>
            <a:endParaRPr lang="en-US" altLang="zh-CN" dirty="0">
              <a:solidFill>
                <a:schemeClr val="tx1"/>
              </a:solidFill>
            </a:endParaRPr>
          </a:p>
          <a:p>
            <a:pPr indent="0">
              <a:buFont typeface="Arial" panose="020B0604020202020204" pitchFamily="34" charset="0"/>
              <a:buNone/>
            </a:pPr>
            <a:r>
              <a:rPr lang="en-US" altLang="zh-CN" dirty="0">
                <a:solidFill>
                  <a:schemeClr val="tx1"/>
                </a:solidFill>
              </a:rPr>
              <a:t>......</a:t>
            </a:r>
            <a:endParaRPr lang="en-US" altLang="zh-CN" dirty="0">
              <a:solidFill>
                <a:schemeClr val="tx1"/>
              </a:solidFill>
            </a:endParaRPr>
          </a:p>
        </p:txBody>
      </p:sp>
      <p:grpSp>
        <p:nvGrpSpPr>
          <p:cNvPr id="11" name="组合 10"/>
          <p:cNvGrpSpPr/>
          <p:nvPr/>
        </p:nvGrpSpPr>
        <p:grpSpPr>
          <a:xfrm>
            <a:off x="6303005" y="1023975"/>
            <a:ext cx="6026477" cy="4483607"/>
            <a:chOff x="2798763" y="974725"/>
            <a:chExt cx="6597650" cy="4908551"/>
          </a:xfrm>
        </p:grpSpPr>
        <p:sp>
          <p:nvSpPr>
            <p:cNvPr id="12" name="矩形 11"/>
            <p:cNvSpPr/>
            <p:nvPr/>
          </p:nvSpPr>
          <p:spPr bwMode="auto">
            <a:xfrm>
              <a:off x="2798763" y="5291138"/>
              <a:ext cx="6597650" cy="3175"/>
            </a:xfrm>
            <a:prstGeom prst="rect">
              <a:avLst/>
            </a:pr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" name="矩形 12"/>
            <p:cNvSpPr/>
            <p:nvPr/>
          </p:nvSpPr>
          <p:spPr bwMode="auto">
            <a:xfrm>
              <a:off x="2798763" y="5291138"/>
              <a:ext cx="6597650" cy="31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" name="矩形 13"/>
            <p:cNvSpPr/>
            <p:nvPr/>
          </p:nvSpPr>
          <p:spPr bwMode="auto">
            <a:xfrm>
              <a:off x="7180263" y="5380038"/>
              <a:ext cx="1289050" cy="3175"/>
            </a:xfrm>
            <a:prstGeom prst="rect">
              <a:avLst/>
            </a:pr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" name="矩形 14"/>
            <p:cNvSpPr/>
            <p:nvPr/>
          </p:nvSpPr>
          <p:spPr bwMode="auto">
            <a:xfrm>
              <a:off x="6611938" y="5454650"/>
              <a:ext cx="617538" cy="3175"/>
            </a:xfrm>
            <a:prstGeom prst="rect">
              <a:avLst/>
            </a:pr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" name="矩形 15"/>
            <p:cNvSpPr/>
            <p:nvPr/>
          </p:nvSpPr>
          <p:spPr bwMode="auto">
            <a:xfrm>
              <a:off x="8482013" y="5500688"/>
              <a:ext cx="254000" cy="3175"/>
            </a:xfrm>
            <a:prstGeom prst="rect">
              <a:avLst/>
            </a:pr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" name="矩形 18"/>
            <p:cNvSpPr/>
            <p:nvPr/>
          </p:nvSpPr>
          <p:spPr bwMode="auto">
            <a:xfrm>
              <a:off x="4468813" y="5454650"/>
              <a:ext cx="1219200" cy="3175"/>
            </a:xfrm>
            <a:prstGeom prst="rect">
              <a:avLst/>
            </a:pr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" name="矩形 19"/>
            <p:cNvSpPr/>
            <p:nvPr/>
          </p:nvSpPr>
          <p:spPr bwMode="auto">
            <a:xfrm>
              <a:off x="4468813" y="5454650"/>
              <a:ext cx="1219200" cy="31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" name="矩形 20"/>
            <p:cNvSpPr/>
            <p:nvPr/>
          </p:nvSpPr>
          <p:spPr bwMode="auto">
            <a:xfrm>
              <a:off x="4089401" y="5454650"/>
              <a:ext cx="260350" cy="3175"/>
            </a:xfrm>
            <a:prstGeom prst="rect">
              <a:avLst/>
            </a:pr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" name="矩形 21"/>
            <p:cNvSpPr/>
            <p:nvPr/>
          </p:nvSpPr>
          <p:spPr bwMode="auto">
            <a:xfrm>
              <a:off x="3560763" y="5402263"/>
              <a:ext cx="434975" cy="3175"/>
            </a:xfrm>
            <a:prstGeom prst="rect">
              <a:avLst/>
            </a:pr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" name="任意多边形 22"/>
            <p:cNvSpPr/>
            <p:nvPr/>
          </p:nvSpPr>
          <p:spPr bwMode="auto">
            <a:xfrm>
              <a:off x="3303588" y="974725"/>
              <a:ext cx="2698750" cy="3725863"/>
            </a:xfrm>
            <a:custGeom>
              <a:avLst/>
              <a:gdLst>
                <a:gd name="T0" fmla="*/ 795 w 818"/>
                <a:gd name="T1" fmla="*/ 1131 h 1131"/>
                <a:gd name="T2" fmla="*/ 23 w 818"/>
                <a:gd name="T3" fmla="*/ 1131 h 1131"/>
                <a:gd name="T4" fmla="*/ 0 w 818"/>
                <a:gd name="T5" fmla="*/ 1108 h 1131"/>
                <a:gd name="T6" fmla="*/ 0 w 818"/>
                <a:gd name="T7" fmla="*/ 23 h 1131"/>
                <a:gd name="T8" fmla="*/ 23 w 818"/>
                <a:gd name="T9" fmla="*/ 0 h 1131"/>
                <a:gd name="T10" fmla="*/ 795 w 818"/>
                <a:gd name="T11" fmla="*/ 0 h 1131"/>
                <a:gd name="T12" fmla="*/ 818 w 818"/>
                <a:gd name="T13" fmla="*/ 23 h 1131"/>
                <a:gd name="T14" fmla="*/ 818 w 818"/>
                <a:gd name="T15" fmla="*/ 1108 h 1131"/>
                <a:gd name="T16" fmla="*/ 795 w 818"/>
                <a:gd name="T17" fmla="*/ 1131 h 1131"/>
                <a:gd name="T18" fmla="*/ 23 w 818"/>
                <a:gd name="T19" fmla="*/ 1 h 1131"/>
                <a:gd name="T20" fmla="*/ 1 w 818"/>
                <a:gd name="T21" fmla="*/ 23 h 1131"/>
                <a:gd name="T22" fmla="*/ 1 w 818"/>
                <a:gd name="T23" fmla="*/ 1108 h 1131"/>
                <a:gd name="T24" fmla="*/ 23 w 818"/>
                <a:gd name="T25" fmla="*/ 1130 h 1131"/>
                <a:gd name="T26" fmla="*/ 795 w 818"/>
                <a:gd name="T27" fmla="*/ 1130 h 1131"/>
                <a:gd name="T28" fmla="*/ 817 w 818"/>
                <a:gd name="T29" fmla="*/ 1108 h 1131"/>
                <a:gd name="T30" fmla="*/ 817 w 818"/>
                <a:gd name="T31" fmla="*/ 23 h 1131"/>
                <a:gd name="T32" fmla="*/ 795 w 818"/>
                <a:gd name="T33" fmla="*/ 1 h 1131"/>
                <a:gd name="T34" fmla="*/ 23 w 818"/>
                <a:gd name="T35" fmla="*/ 1 h 1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18" h="1131">
                  <a:moveTo>
                    <a:pt x="795" y="1131"/>
                  </a:moveTo>
                  <a:cubicBezTo>
                    <a:pt x="23" y="1131"/>
                    <a:pt x="23" y="1131"/>
                    <a:pt x="23" y="1131"/>
                  </a:cubicBezTo>
                  <a:cubicBezTo>
                    <a:pt x="10" y="1131"/>
                    <a:pt x="0" y="1121"/>
                    <a:pt x="0" y="1108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795" y="0"/>
                    <a:pt x="795" y="0"/>
                    <a:pt x="795" y="0"/>
                  </a:cubicBezTo>
                  <a:cubicBezTo>
                    <a:pt x="808" y="0"/>
                    <a:pt x="818" y="10"/>
                    <a:pt x="818" y="23"/>
                  </a:cubicBezTo>
                  <a:cubicBezTo>
                    <a:pt x="818" y="1108"/>
                    <a:pt x="818" y="1108"/>
                    <a:pt x="818" y="1108"/>
                  </a:cubicBezTo>
                  <a:cubicBezTo>
                    <a:pt x="818" y="1121"/>
                    <a:pt x="808" y="1131"/>
                    <a:pt x="795" y="1131"/>
                  </a:cubicBezTo>
                  <a:moveTo>
                    <a:pt x="23" y="1"/>
                  </a:moveTo>
                  <a:cubicBezTo>
                    <a:pt x="11" y="1"/>
                    <a:pt x="1" y="11"/>
                    <a:pt x="1" y="23"/>
                  </a:cubicBezTo>
                  <a:cubicBezTo>
                    <a:pt x="1" y="1108"/>
                    <a:pt x="1" y="1108"/>
                    <a:pt x="1" y="1108"/>
                  </a:cubicBezTo>
                  <a:cubicBezTo>
                    <a:pt x="1" y="1120"/>
                    <a:pt x="11" y="1130"/>
                    <a:pt x="23" y="1130"/>
                  </a:cubicBezTo>
                  <a:cubicBezTo>
                    <a:pt x="795" y="1130"/>
                    <a:pt x="795" y="1130"/>
                    <a:pt x="795" y="1130"/>
                  </a:cubicBezTo>
                  <a:cubicBezTo>
                    <a:pt x="807" y="1130"/>
                    <a:pt x="817" y="1120"/>
                    <a:pt x="817" y="1108"/>
                  </a:cubicBezTo>
                  <a:cubicBezTo>
                    <a:pt x="817" y="23"/>
                    <a:pt x="817" y="23"/>
                    <a:pt x="817" y="23"/>
                  </a:cubicBezTo>
                  <a:cubicBezTo>
                    <a:pt x="817" y="11"/>
                    <a:pt x="807" y="1"/>
                    <a:pt x="795" y="1"/>
                  </a:cubicBezTo>
                  <a:cubicBezTo>
                    <a:pt x="23" y="1"/>
                    <a:pt x="23" y="1"/>
                    <a:pt x="23" y="1"/>
                  </a:cubicBezTo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" name="任意多边形 23"/>
            <p:cNvSpPr/>
            <p:nvPr/>
          </p:nvSpPr>
          <p:spPr bwMode="auto">
            <a:xfrm>
              <a:off x="6157913" y="974725"/>
              <a:ext cx="2697163" cy="3725863"/>
            </a:xfrm>
            <a:custGeom>
              <a:avLst/>
              <a:gdLst>
                <a:gd name="T0" fmla="*/ 795 w 818"/>
                <a:gd name="T1" fmla="*/ 1131 h 1131"/>
                <a:gd name="T2" fmla="*/ 23 w 818"/>
                <a:gd name="T3" fmla="*/ 1131 h 1131"/>
                <a:gd name="T4" fmla="*/ 0 w 818"/>
                <a:gd name="T5" fmla="*/ 1108 h 1131"/>
                <a:gd name="T6" fmla="*/ 0 w 818"/>
                <a:gd name="T7" fmla="*/ 23 h 1131"/>
                <a:gd name="T8" fmla="*/ 23 w 818"/>
                <a:gd name="T9" fmla="*/ 0 h 1131"/>
                <a:gd name="T10" fmla="*/ 795 w 818"/>
                <a:gd name="T11" fmla="*/ 0 h 1131"/>
                <a:gd name="T12" fmla="*/ 818 w 818"/>
                <a:gd name="T13" fmla="*/ 23 h 1131"/>
                <a:gd name="T14" fmla="*/ 818 w 818"/>
                <a:gd name="T15" fmla="*/ 1108 h 1131"/>
                <a:gd name="T16" fmla="*/ 795 w 818"/>
                <a:gd name="T17" fmla="*/ 1131 h 1131"/>
                <a:gd name="T18" fmla="*/ 23 w 818"/>
                <a:gd name="T19" fmla="*/ 1 h 1131"/>
                <a:gd name="T20" fmla="*/ 1 w 818"/>
                <a:gd name="T21" fmla="*/ 23 h 1131"/>
                <a:gd name="T22" fmla="*/ 1 w 818"/>
                <a:gd name="T23" fmla="*/ 1108 h 1131"/>
                <a:gd name="T24" fmla="*/ 23 w 818"/>
                <a:gd name="T25" fmla="*/ 1130 h 1131"/>
                <a:gd name="T26" fmla="*/ 795 w 818"/>
                <a:gd name="T27" fmla="*/ 1130 h 1131"/>
                <a:gd name="T28" fmla="*/ 817 w 818"/>
                <a:gd name="T29" fmla="*/ 1108 h 1131"/>
                <a:gd name="T30" fmla="*/ 817 w 818"/>
                <a:gd name="T31" fmla="*/ 23 h 1131"/>
                <a:gd name="T32" fmla="*/ 795 w 818"/>
                <a:gd name="T33" fmla="*/ 1 h 1131"/>
                <a:gd name="T34" fmla="*/ 23 w 818"/>
                <a:gd name="T35" fmla="*/ 1 h 1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18" h="1131">
                  <a:moveTo>
                    <a:pt x="795" y="1131"/>
                  </a:moveTo>
                  <a:cubicBezTo>
                    <a:pt x="23" y="1131"/>
                    <a:pt x="23" y="1131"/>
                    <a:pt x="23" y="1131"/>
                  </a:cubicBezTo>
                  <a:cubicBezTo>
                    <a:pt x="10" y="1131"/>
                    <a:pt x="0" y="1121"/>
                    <a:pt x="0" y="1108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795" y="0"/>
                    <a:pt x="795" y="0"/>
                    <a:pt x="795" y="0"/>
                  </a:cubicBezTo>
                  <a:cubicBezTo>
                    <a:pt x="808" y="0"/>
                    <a:pt x="818" y="10"/>
                    <a:pt x="818" y="23"/>
                  </a:cubicBezTo>
                  <a:cubicBezTo>
                    <a:pt x="818" y="1108"/>
                    <a:pt x="818" y="1108"/>
                    <a:pt x="818" y="1108"/>
                  </a:cubicBezTo>
                  <a:cubicBezTo>
                    <a:pt x="818" y="1121"/>
                    <a:pt x="808" y="1131"/>
                    <a:pt x="795" y="1131"/>
                  </a:cubicBezTo>
                  <a:moveTo>
                    <a:pt x="23" y="1"/>
                  </a:moveTo>
                  <a:cubicBezTo>
                    <a:pt x="11" y="1"/>
                    <a:pt x="1" y="11"/>
                    <a:pt x="1" y="23"/>
                  </a:cubicBezTo>
                  <a:cubicBezTo>
                    <a:pt x="1" y="1108"/>
                    <a:pt x="1" y="1108"/>
                    <a:pt x="1" y="1108"/>
                  </a:cubicBezTo>
                  <a:cubicBezTo>
                    <a:pt x="1" y="1120"/>
                    <a:pt x="11" y="1130"/>
                    <a:pt x="23" y="1130"/>
                  </a:cubicBezTo>
                  <a:cubicBezTo>
                    <a:pt x="795" y="1130"/>
                    <a:pt x="795" y="1130"/>
                    <a:pt x="795" y="1130"/>
                  </a:cubicBezTo>
                  <a:cubicBezTo>
                    <a:pt x="807" y="1130"/>
                    <a:pt x="817" y="1120"/>
                    <a:pt x="817" y="1108"/>
                  </a:cubicBezTo>
                  <a:cubicBezTo>
                    <a:pt x="817" y="23"/>
                    <a:pt x="817" y="23"/>
                    <a:pt x="817" y="23"/>
                  </a:cubicBezTo>
                  <a:cubicBezTo>
                    <a:pt x="817" y="11"/>
                    <a:pt x="807" y="1"/>
                    <a:pt x="795" y="1"/>
                  </a:cubicBezTo>
                  <a:cubicBezTo>
                    <a:pt x="23" y="1"/>
                    <a:pt x="23" y="1"/>
                    <a:pt x="23" y="1"/>
                  </a:cubicBezTo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" name="矩形 24"/>
            <p:cNvSpPr/>
            <p:nvPr/>
          </p:nvSpPr>
          <p:spPr bwMode="auto">
            <a:xfrm>
              <a:off x="3851276" y="3686175"/>
              <a:ext cx="184150" cy="1604963"/>
            </a:xfrm>
            <a:prstGeom prst="rect">
              <a:avLst/>
            </a:pr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" name="矩形 25"/>
            <p:cNvSpPr/>
            <p:nvPr/>
          </p:nvSpPr>
          <p:spPr bwMode="auto">
            <a:xfrm>
              <a:off x="4035426" y="3686175"/>
              <a:ext cx="1749425" cy="1604963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" name="矩形 26"/>
            <p:cNvSpPr/>
            <p:nvPr/>
          </p:nvSpPr>
          <p:spPr bwMode="auto">
            <a:xfrm>
              <a:off x="4035426" y="3686175"/>
              <a:ext cx="1749425" cy="16049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" name="矩形 27"/>
            <p:cNvSpPr/>
            <p:nvPr/>
          </p:nvSpPr>
          <p:spPr bwMode="auto">
            <a:xfrm>
              <a:off x="4098926" y="3748088"/>
              <a:ext cx="1622425" cy="1479550"/>
            </a:xfrm>
            <a:prstGeom prst="rect">
              <a:avLst/>
            </a:pr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" name="矩形 28"/>
            <p:cNvSpPr/>
            <p:nvPr/>
          </p:nvSpPr>
          <p:spPr bwMode="auto">
            <a:xfrm>
              <a:off x="4098926" y="3748088"/>
              <a:ext cx="1622425" cy="1479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" name="矩形 29"/>
            <p:cNvSpPr/>
            <p:nvPr/>
          </p:nvSpPr>
          <p:spPr bwMode="auto">
            <a:xfrm>
              <a:off x="4125913" y="3778250"/>
              <a:ext cx="1570038" cy="161925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" name="矩形 30"/>
            <p:cNvSpPr/>
            <p:nvPr/>
          </p:nvSpPr>
          <p:spPr bwMode="auto">
            <a:xfrm>
              <a:off x="4125913" y="3778250"/>
              <a:ext cx="1570038" cy="161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" name="矩形 31"/>
            <p:cNvSpPr/>
            <p:nvPr/>
          </p:nvSpPr>
          <p:spPr bwMode="auto">
            <a:xfrm>
              <a:off x="4125913" y="3959225"/>
              <a:ext cx="1570038" cy="441325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" name="矩形 32"/>
            <p:cNvSpPr/>
            <p:nvPr/>
          </p:nvSpPr>
          <p:spPr bwMode="auto">
            <a:xfrm>
              <a:off x="4125913" y="3959225"/>
              <a:ext cx="1570038" cy="441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" name="矩形 33"/>
            <p:cNvSpPr/>
            <p:nvPr/>
          </p:nvSpPr>
          <p:spPr bwMode="auto">
            <a:xfrm>
              <a:off x="4125913" y="4421188"/>
              <a:ext cx="1570038" cy="779463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" name="矩形 34"/>
            <p:cNvSpPr/>
            <p:nvPr/>
          </p:nvSpPr>
          <p:spPr bwMode="auto">
            <a:xfrm>
              <a:off x="4125913" y="4421188"/>
              <a:ext cx="1570038" cy="7794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" name="任意多边形 35"/>
            <p:cNvSpPr/>
            <p:nvPr/>
          </p:nvSpPr>
          <p:spPr bwMode="auto">
            <a:xfrm>
              <a:off x="4441826" y="4456113"/>
              <a:ext cx="936625" cy="26988"/>
            </a:xfrm>
            <a:custGeom>
              <a:avLst/>
              <a:gdLst>
                <a:gd name="T0" fmla="*/ 280 w 284"/>
                <a:gd name="T1" fmla="*/ 8 h 8"/>
                <a:gd name="T2" fmla="*/ 4 w 284"/>
                <a:gd name="T3" fmla="*/ 8 h 8"/>
                <a:gd name="T4" fmla="*/ 0 w 284"/>
                <a:gd name="T5" fmla="*/ 4 h 8"/>
                <a:gd name="T6" fmla="*/ 4 w 284"/>
                <a:gd name="T7" fmla="*/ 0 h 8"/>
                <a:gd name="T8" fmla="*/ 280 w 284"/>
                <a:gd name="T9" fmla="*/ 0 h 8"/>
                <a:gd name="T10" fmla="*/ 284 w 284"/>
                <a:gd name="T11" fmla="*/ 4 h 8"/>
                <a:gd name="T12" fmla="*/ 280 w 28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4" h="8">
                  <a:moveTo>
                    <a:pt x="280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280" y="0"/>
                    <a:pt x="280" y="0"/>
                    <a:pt x="280" y="0"/>
                  </a:cubicBezTo>
                  <a:cubicBezTo>
                    <a:pt x="282" y="0"/>
                    <a:pt x="284" y="2"/>
                    <a:pt x="284" y="4"/>
                  </a:cubicBezTo>
                  <a:cubicBezTo>
                    <a:pt x="284" y="6"/>
                    <a:pt x="282" y="8"/>
                    <a:pt x="280" y="8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" name="任意多边形 36"/>
            <p:cNvSpPr/>
            <p:nvPr/>
          </p:nvSpPr>
          <p:spPr bwMode="auto">
            <a:xfrm>
              <a:off x="4441826" y="3995738"/>
              <a:ext cx="936625" cy="26988"/>
            </a:xfrm>
            <a:custGeom>
              <a:avLst/>
              <a:gdLst>
                <a:gd name="T0" fmla="*/ 280 w 284"/>
                <a:gd name="T1" fmla="*/ 8 h 8"/>
                <a:gd name="T2" fmla="*/ 4 w 284"/>
                <a:gd name="T3" fmla="*/ 8 h 8"/>
                <a:gd name="T4" fmla="*/ 0 w 284"/>
                <a:gd name="T5" fmla="*/ 4 h 8"/>
                <a:gd name="T6" fmla="*/ 4 w 284"/>
                <a:gd name="T7" fmla="*/ 0 h 8"/>
                <a:gd name="T8" fmla="*/ 280 w 284"/>
                <a:gd name="T9" fmla="*/ 0 h 8"/>
                <a:gd name="T10" fmla="*/ 284 w 284"/>
                <a:gd name="T11" fmla="*/ 4 h 8"/>
                <a:gd name="T12" fmla="*/ 280 w 28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4" h="8">
                  <a:moveTo>
                    <a:pt x="280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280" y="0"/>
                    <a:pt x="280" y="0"/>
                    <a:pt x="280" y="0"/>
                  </a:cubicBezTo>
                  <a:cubicBezTo>
                    <a:pt x="282" y="0"/>
                    <a:pt x="284" y="2"/>
                    <a:pt x="284" y="4"/>
                  </a:cubicBezTo>
                  <a:cubicBezTo>
                    <a:pt x="284" y="6"/>
                    <a:pt x="282" y="8"/>
                    <a:pt x="280" y="8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" name="任意多边形 37"/>
            <p:cNvSpPr/>
            <p:nvPr/>
          </p:nvSpPr>
          <p:spPr bwMode="auto">
            <a:xfrm>
              <a:off x="4441826" y="3814763"/>
              <a:ext cx="936625" cy="25400"/>
            </a:xfrm>
            <a:custGeom>
              <a:avLst/>
              <a:gdLst>
                <a:gd name="T0" fmla="*/ 280 w 284"/>
                <a:gd name="T1" fmla="*/ 8 h 8"/>
                <a:gd name="T2" fmla="*/ 4 w 284"/>
                <a:gd name="T3" fmla="*/ 8 h 8"/>
                <a:gd name="T4" fmla="*/ 0 w 284"/>
                <a:gd name="T5" fmla="*/ 4 h 8"/>
                <a:gd name="T6" fmla="*/ 4 w 284"/>
                <a:gd name="T7" fmla="*/ 0 h 8"/>
                <a:gd name="T8" fmla="*/ 280 w 284"/>
                <a:gd name="T9" fmla="*/ 0 h 8"/>
                <a:gd name="T10" fmla="*/ 284 w 284"/>
                <a:gd name="T11" fmla="*/ 4 h 8"/>
                <a:gd name="T12" fmla="*/ 280 w 28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4" h="8">
                  <a:moveTo>
                    <a:pt x="280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280" y="0"/>
                    <a:pt x="280" y="0"/>
                    <a:pt x="280" y="0"/>
                  </a:cubicBezTo>
                  <a:cubicBezTo>
                    <a:pt x="282" y="0"/>
                    <a:pt x="284" y="2"/>
                    <a:pt x="284" y="4"/>
                  </a:cubicBezTo>
                  <a:cubicBezTo>
                    <a:pt x="284" y="6"/>
                    <a:pt x="282" y="8"/>
                    <a:pt x="280" y="8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" name="矩形 38"/>
            <p:cNvSpPr/>
            <p:nvPr/>
          </p:nvSpPr>
          <p:spPr bwMode="auto">
            <a:xfrm>
              <a:off x="3762376" y="2546350"/>
              <a:ext cx="2206625" cy="711200"/>
            </a:xfrm>
            <a:prstGeom prst="rect">
              <a:avLst/>
            </a:prstGeom>
            <a:solidFill>
              <a:srgbClr val="F0F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" name="矩形 39"/>
            <p:cNvSpPr/>
            <p:nvPr/>
          </p:nvSpPr>
          <p:spPr bwMode="auto">
            <a:xfrm>
              <a:off x="3762376" y="2546350"/>
              <a:ext cx="2206625" cy="711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" name="矩形 40"/>
            <p:cNvSpPr/>
            <p:nvPr/>
          </p:nvSpPr>
          <p:spPr bwMode="auto">
            <a:xfrm>
              <a:off x="3821113" y="2608263"/>
              <a:ext cx="2085975" cy="587375"/>
            </a:xfrm>
            <a:prstGeom prst="rect">
              <a:avLst/>
            </a:pr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" name="矩形 41"/>
            <p:cNvSpPr/>
            <p:nvPr/>
          </p:nvSpPr>
          <p:spPr bwMode="auto">
            <a:xfrm>
              <a:off x="3821113" y="2608263"/>
              <a:ext cx="2085975" cy="587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" name="矩形 42"/>
            <p:cNvSpPr/>
            <p:nvPr/>
          </p:nvSpPr>
          <p:spPr bwMode="auto">
            <a:xfrm>
              <a:off x="5610226" y="2608263"/>
              <a:ext cx="296863" cy="587375"/>
            </a:xfrm>
            <a:prstGeom prst="rect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" name="矩形 43"/>
            <p:cNvSpPr/>
            <p:nvPr/>
          </p:nvSpPr>
          <p:spPr bwMode="auto">
            <a:xfrm>
              <a:off x="5610226" y="2608263"/>
              <a:ext cx="296863" cy="587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" name="矩形 44"/>
            <p:cNvSpPr/>
            <p:nvPr/>
          </p:nvSpPr>
          <p:spPr bwMode="auto">
            <a:xfrm>
              <a:off x="3606801" y="2546350"/>
              <a:ext cx="155575" cy="711200"/>
            </a:xfrm>
            <a:prstGeom prst="rect">
              <a:avLst/>
            </a:pr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" name="矩形 45"/>
            <p:cNvSpPr/>
            <p:nvPr/>
          </p:nvSpPr>
          <p:spPr bwMode="auto">
            <a:xfrm>
              <a:off x="5527676" y="2657475"/>
              <a:ext cx="131763" cy="538163"/>
            </a:xfrm>
            <a:prstGeom prst="rect">
              <a:avLst/>
            </a:prstGeom>
            <a:solidFill>
              <a:srgbClr val="F0F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" name="矩形 46"/>
            <p:cNvSpPr/>
            <p:nvPr/>
          </p:nvSpPr>
          <p:spPr bwMode="auto">
            <a:xfrm>
              <a:off x="5527676" y="2657475"/>
              <a:ext cx="131763" cy="5381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" name="矩形 47"/>
            <p:cNvSpPr/>
            <p:nvPr/>
          </p:nvSpPr>
          <p:spPr bwMode="auto">
            <a:xfrm>
              <a:off x="5180013" y="2657475"/>
              <a:ext cx="347663" cy="538163"/>
            </a:xfrm>
            <a:prstGeom prst="rect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" name="矩形 48"/>
            <p:cNvSpPr/>
            <p:nvPr/>
          </p:nvSpPr>
          <p:spPr bwMode="auto">
            <a:xfrm>
              <a:off x="5180013" y="2657475"/>
              <a:ext cx="347663" cy="5381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" name="矩形 49"/>
            <p:cNvSpPr/>
            <p:nvPr/>
          </p:nvSpPr>
          <p:spPr bwMode="auto">
            <a:xfrm>
              <a:off x="5411788" y="2717800"/>
              <a:ext cx="73025" cy="477838"/>
            </a:xfrm>
            <a:prstGeom prst="rect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" name="矩形 50"/>
            <p:cNvSpPr/>
            <p:nvPr/>
          </p:nvSpPr>
          <p:spPr bwMode="auto">
            <a:xfrm>
              <a:off x="5411788" y="2717800"/>
              <a:ext cx="73025" cy="4778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" name="矩形 51"/>
            <p:cNvSpPr/>
            <p:nvPr/>
          </p:nvSpPr>
          <p:spPr bwMode="auto">
            <a:xfrm>
              <a:off x="5216526" y="2717800"/>
              <a:ext cx="195263" cy="477838"/>
            </a:xfrm>
            <a:prstGeom prst="rect">
              <a:avLst/>
            </a:pr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" name="矩形 52"/>
            <p:cNvSpPr/>
            <p:nvPr/>
          </p:nvSpPr>
          <p:spPr bwMode="auto">
            <a:xfrm>
              <a:off x="5216526" y="2717800"/>
              <a:ext cx="195263" cy="4778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" name="任意多边形 53"/>
            <p:cNvSpPr/>
            <p:nvPr/>
          </p:nvSpPr>
          <p:spPr bwMode="auto">
            <a:xfrm>
              <a:off x="5191126" y="2746375"/>
              <a:ext cx="171450" cy="449263"/>
            </a:xfrm>
            <a:custGeom>
              <a:avLst/>
              <a:gdLst>
                <a:gd name="T0" fmla="*/ 0 w 108"/>
                <a:gd name="T1" fmla="*/ 283 h 283"/>
                <a:gd name="T2" fmla="*/ 68 w 108"/>
                <a:gd name="T3" fmla="*/ 283 h 283"/>
                <a:gd name="T4" fmla="*/ 108 w 108"/>
                <a:gd name="T5" fmla="*/ 0 h 283"/>
                <a:gd name="T6" fmla="*/ 39 w 108"/>
                <a:gd name="T7" fmla="*/ 0 h 283"/>
                <a:gd name="T8" fmla="*/ 0 w 108"/>
                <a:gd name="T9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283">
                  <a:moveTo>
                    <a:pt x="0" y="283"/>
                  </a:moveTo>
                  <a:lnTo>
                    <a:pt x="68" y="283"/>
                  </a:lnTo>
                  <a:lnTo>
                    <a:pt x="108" y="0"/>
                  </a:lnTo>
                  <a:lnTo>
                    <a:pt x="39" y="0"/>
                  </a:lnTo>
                  <a:lnTo>
                    <a:pt x="0" y="283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" name="任意多边形 54"/>
            <p:cNvSpPr/>
            <p:nvPr/>
          </p:nvSpPr>
          <p:spPr bwMode="auto">
            <a:xfrm>
              <a:off x="5191126" y="2746375"/>
              <a:ext cx="171450" cy="449263"/>
            </a:xfrm>
            <a:custGeom>
              <a:avLst/>
              <a:gdLst>
                <a:gd name="T0" fmla="*/ 0 w 108"/>
                <a:gd name="T1" fmla="*/ 283 h 283"/>
                <a:gd name="T2" fmla="*/ 68 w 108"/>
                <a:gd name="T3" fmla="*/ 283 h 283"/>
                <a:gd name="T4" fmla="*/ 108 w 108"/>
                <a:gd name="T5" fmla="*/ 0 h 283"/>
                <a:gd name="T6" fmla="*/ 39 w 108"/>
                <a:gd name="T7" fmla="*/ 0 h 283"/>
                <a:gd name="T8" fmla="*/ 0 w 108"/>
                <a:gd name="T9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283">
                  <a:moveTo>
                    <a:pt x="0" y="283"/>
                  </a:moveTo>
                  <a:lnTo>
                    <a:pt x="68" y="283"/>
                  </a:lnTo>
                  <a:lnTo>
                    <a:pt x="108" y="0"/>
                  </a:lnTo>
                  <a:lnTo>
                    <a:pt x="39" y="0"/>
                  </a:lnTo>
                  <a:lnTo>
                    <a:pt x="0" y="28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" name="任意多边形 55"/>
            <p:cNvSpPr/>
            <p:nvPr/>
          </p:nvSpPr>
          <p:spPr bwMode="auto">
            <a:xfrm>
              <a:off x="4900613" y="2746375"/>
              <a:ext cx="352425" cy="449263"/>
            </a:xfrm>
            <a:custGeom>
              <a:avLst/>
              <a:gdLst>
                <a:gd name="T0" fmla="*/ 183 w 222"/>
                <a:gd name="T1" fmla="*/ 283 h 283"/>
                <a:gd name="T2" fmla="*/ 0 w 222"/>
                <a:gd name="T3" fmla="*/ 283 h 283"/>
                <a:gd name="T4" fmla="*/ 39 w 222"/>
                <a:gd name="T5" fmla="*/ 0 h 283"/>
                <a:gd name="T6" fmla="*/ 222 w 222"/>
                <a:gd name="T7" fmla="*/ 0 h 283"/>
                <a:gd name="T8" fmla="*/ 183 w 222"/>
                <a:gd name="T9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" h="283">
                  <a:moveTo>
                    <a:pt x="183" y="283"/>
                  </a:moveTo>
                  <a:lnTo>
                    <a:pt x="0" y="283"/>
                  </a:lnTo>
                  <a:lnTo>
                    <a:pt x="39" y="0"/>
                  </a:lnTo>
                  <a:lnTo>
                    <a:pt x="222" y="0"/>
                  </a:lnTo>
                  <a:lnTo>
                    <a:pt x="183" y="283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" name="任意多边形 56"/>
            <p:cNvSpPr/>
            <p:nvPr/>
          </p:nvSpPr>
          <p:spPr bwMode="auto">
            <a:xfrm>
              <a:off x="4900613" y="2746375"/>
              <a:ext cx="352425" cy="449263"/>
            </a:xfrm>
            <a:custGeom>
              <a:avLst/>
              <a:gdLst>
                <a:gd name="T0" fmla="*/ 183 w 222"/>
                <a:gd name="T1" fmla="*/ 283 h 283"/>
                <a:gd name="T2" fmla="*/ 0 w 222"/>
                <a:gd name="T3" fmla="*/ 283 h 283"/>
                <a:gd name="T4" fmla="*/ 39 w 222"/>
                <a:gd name="T5" fmla="*/ 0 h 283"/>
                <a:gd name="T6" fmla="*/ 222 w 222"/>
                <a:gd name="T7" fmla="*/ 0 h 283"/>
                <a:gd name="T8" fmla="*/ 183 w 222"/>
                <a:gd name="T9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" h="283">
                  <a:moveTo>
                    <a:pt x="183" y="283"/>
                  </a:moveTo>
                  <a:lnTo>
                    <a:pt x="0" y="283"/>
                  </a:lnTo>
                  <a:lnTo>
                    <a:pt x="39" y="0"/>
                  </a:lnTo>
                  <a:lnTo>
                    <a:pt x="222" y="0"/>
                  </a:lnTo>
                  <a:lnTo>
                    <a:pt x="183" y="28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" name="矩形 57"/>
            <p:cNvSpPr/>
            <p:nvPr/>
          </p:nvSpPr>
          <p:spPr bwMode="auto">
            <a:xfrm>
              <a:off x="4548188" y="3067050"/>
              <a:ext cx="539750" cy="128588"/>
            </a:xfrm>
            <a:prstGeom prst="rect">
              <a:avLst/>
            </a:pr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" name="矩形 58"/>
            <p:cNvSpPr/>
            <p:nvPr/>
          </p:nvSpPr>
          <p:spPr bwMode="auto">
            <a:xfrm>
              <a:off x="4548188" y="3067050"/>
              <a:ext cx="539750" cy="1285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" name="矩形 59"/>
            <p:cNvSpPr/>
            <p:nvPr/>
          </p:nvSpPr>
          <p:spPr bwMode="auto">
            <a:xfrm>
              <a:off x="4349751" y="3067050"/>
              <a:ext cx="198438" cy="128588"/>
            </a:xfrm>
            <a:prstGeom prst="rect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" name="矩形 60"/>
            <p:cNvSpPr/>
            <p:nvPr/>
          </p:nvSpPr>
          <p:spPr bwMode="auto">
            <a:xfrm>
              <a:off x="4349751" y="3079750"/>
              <a:ext cx="180975" cy="101600"/>
            </a:xfrm>
            <a:prstGeom prst="rect">
              <a:avLst/>
            </a:prstGeom>
            <a:solidFill>
              <a:srgbClr val="F0F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" name="矩形 61"/>
            <p:cNvSpPr/>
            <p:nvPr/>
          </p:nvSpPr>
          <p:spPr bwMode="auto">
            <a:xfrm>
              <a:off x="4514851" y="2963863"/>
              <a:ext cx="541338" cy="103188"/>
            </a:xfrm>
            <a:prstGeom prst="rect">
              <a:avLst/>
            </a:prstGeom>
            <a:solidFill>
              <a:srgbClr val="F0F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" name="矩形 62"/>
            <p:cNvSpPr/>
            <p:nvPr/>
          </p:nvSpPr>
          <p:spPr bwMode="auto">
            <a:xfrm>
              <a:off x="4514851" y="2963863"/>
              <a:ext cx="541338" cy="103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" name="矩形 63"/>
            <p:cNvSpPr/>
            <p:nvPr/>
          </p:nvSpPr>
          <p:spPr bwMode="auto">
            <a:xfrm>
              <a:off x="4316413" y="2963863"/>
              <a:ext cx="198438" cy="103188"/>
            </a:xfrm>
            <a:prstGeom prst="rect">
              <a:avLst/>
            </a:pr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" name="矩形 64"/>
            <p:cNvSpPr/>
            <p:nvPr/>
          </p:nvSpPr>
          <p:spPr bwMode="auto">
            <a:xfrm>
              <a:off x="4316413" y="2978150"/>
              <a:ext cx="180975" cy="74613"/>
            </a:xfrm>
            <a:prstGeom prst="rect">
              <a:avLst/>
            </a:prstGeom>
            <a:solidFill>
              <a:srgbClr val="F0F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" name="矩形 65"/>
            <p:cNvSpPr/>
            <p:nvPr/>
          </p:nvSpPr>
          <p:spPr bwMode="auto">
            <a:xfrm>
              <a:off x="4181476" y="2760663"/>
              <a:ext cx="104775" cy="434975"/>
            </a:xfrm>
            <a:prstGeom prst="rect">
              <a:avLst/>
            </a:prstGeom>
            <a:solidFill>
              <a:srgbClr val="F0F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" name="矩形 66"/>
            <p:cNvSpPr/>
            <p:nvPr/>
          </p:nvSpPr>
          <p:spPr bwMode="auto">
            <a:xfrm>
              <a:off x="3900488" y="2760663"/>
              <a:ext cx="280988" cy="434975"/>
            </a:xfrm>
            <a:prstGeom prst="rect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" name="矩形 67"/>
            <p:cNvSpPr/>
            <p:nvPr/>
          </p:nvSpPr>
          <p:spPr bwMode="auto">
            <a:xfrm>
              <a:off x="3949701" y="2809875"/>
              <a:ext cx="100013" cy="385763"/>
            </a:xfrm>
            <a:prstGeom prst="rect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" name="矩形 68"/>
            <p:cNvSpPr/>
            <p:nvPr/>
          </p:nvSpPr>
          <p:spPr bwMode="auto">
            <a:xfrm>
              <a:off x="3821113" y="2809875"/>
              <a:ext cx="128588" cy="385763"/>
            </a:xfrm>
            <a:prstGeom prst="rect">
              <a:avLst/>
            </a:pr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" name="矩形 69"/>
            <p:cNvSpPr/>
            <p:nvPr/>
          </p:nvSpPr>
          <p:spPr bwMode="auto">
            <a:xfrm>
              <a:off x="3762376" y="1649413"/>
              <a:ext cx="2206625" cy="712788"/>
            </a:xfrm>
            <a:prstGeom prst="rect">
              <a:avLst/>
            </a:prstGeom>
            <a:solidFill>
              <a:srgbClr val="F0F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" name="矩形 70"/>
            <p:cNvSpPr/>
            <p:nvPr/>
          </p:nvSpPr>
          <p:spPr bwMode="auto">
            <a:xfrm>
              <a:off x="3762376" y="1649413"/>
              <a:ext cx="2206625" cy="712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" name="矩形 71"/>
            <p:cNvSpPr/>
            <p:nvPr/>
          </p:nvSpPr>
          <p:spPr bwMode="auto">
            <a:xfrm>
              <a:off x="3821113" y="1712913"/>
              <a:ext cx="2085975" cy="585788"/>
            </a:xfrm>
            <a:prstGeom prst="rect">
              <a:avLst/>
            </a:pr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3" name="矩形 72"/>
            <p:cNvSpPr/>
            <p:nvPr/>
          </p:nvSpPr>
          <p:spPr bwMode="auto">
            <a:xfrm>
              <a:off x="5610226" y="1712913"/>
              <a:ext cx="296863" cy="585788"/>
            </a:xfrm>
            <a:prstGeom prst="rect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4" name="矩形 73"/>
            <p:cNvSpPr/>
            <p:nvPr/>
          </p:nvSpPr>
          <p:spPr bwMode="auto">
            <a:xfrm>
              <a:off x="3606801" y="1649413"/>
              <a:ext cx="155575" cy="712788"/>
            </a:xfrm>
            <a:prstGeom prst="rect">
              <a:avLst/>
            </a:pr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5" name="矩形 74"/>
            <p:cNvSpPr/>
            <p:nvPr/>
          </p:nvSpPr>
          <p:spPr bwMode="auto">
            <a:xfrm>
              <a:off x="4851401" y="1955800"/>
              <a:ext cx="111125" cy="342900"/>
            </a:xfrm>
            <a:prstGeom prst="rect">
              <a:avLst/>
            </a:prstGeom>
            <a:solidFill>
              <a:srgbClr val="F0F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6" name="矩形 75"/>
            <p:cNvSpPr/>
            <p:nvPr/>
          </p:nvSpPr>
          <p:spPr bwMode="auto">
            <a:xfrm>
              <a:off x="4683126" y="1955800"/>
              <a:ext cx="168275" cy="342900"/>
            </a:xfrm>
            <a:prstGeom prst="rect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7" name="矩形 76"/>
            <p:cNvSpPr/>
            <p:nvPr/>
          </p:nvSpPr>
          <p:spPr bwMode="auto">
            <a:xfrm>
              <a:off x="4725988" y="1884363"/>
              <a:ext cx="65088" cy="414338"/>
            </a:xfrm>
            <a:prstGeom prst="rect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8" name="矩形 77"/>
            <p:cNvSpPr/>
            <p:nvPr/>
          </p:nvSpPr>
          <p:spPr bwMode="auto">
            <a:xfrm>
              <a:off x="4554538" y="1884363"/>
              <a:ext cx="171450" cy="414338"/>
            </a:xfrm>
            <a:prstGeom prst="rect">
              <a:avLst/>
            </a:pr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9" name="任意多边形 78"/>
            <p:cNvSpPr/>
            <p:nvPr/>
          </p:nvSpPr>
          <p:spPr bwMode="auto">
            <a:xfrm>
              <a:off x="5665788" y="1906588"/>
              <a:ext cx="152400" cy="392113"/>
            </a:xfrm>
            <a:custGeom>
              <a:avLst/>
              <a:gdLst>
                <a:gd name="T0" fmla="*/ 0 w 96"/>
                <a:gd name="T1" fmla="*/ 247 h 247"/>
                <a:gd name="T2" fmla="*/ 60 w 96"/>
                <a:gd name="T3" fmla="*/ 247 h 247"/>
                <a:gd name="T4" fmla="*/ 96 w 96"/>
                <a:gd name="T5" fmla="*/ 0 h 247"/>
                <a:gd name="T6" fmla="*/ 35 w 96"/>
                <a:gd name="T7" fmla="*/ 0 h 247"/>
                <a:gd name="T8" fmla="*/ 0 w 96"/>
                <a:gd name="T9" fmla="*/ 247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247">
                  <a:moveTo>
                    <a:pt x="0" y="247"/>
                  </a:moveTo>
                  <a:lnTo>
                    <a:pt x="60" y="247"/>
                  </a:lnTo>
                  <a:lnTo>
                    <a:pt x="96" y="0"/>
                  </a:lnTo>
                  <a:lnTo>
                    <a:pt x="35" y="0"/>
                  </a:lnTo>
                  <a:lnTo>
                    <a:pt x="0" y="247"/>
                  </a:lnTo>
                  <a:close/>
                </a:path>
              </a:pathLst>
            </a:custGeom>
            <a:solidFill>
              <a:srgbClr val="F0F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0" name="任意多边形 79"/>
            <p:cNvSpPr/>
            <p:nvPr/>
          </p:nvSpPr>
          <p:spPr bwMode="auto">
            <a:xfrm>
              <a:off x="5414963" y="1906588"/>
              <a:ext cx="306388" cy="392113"/>
            </a:xfrm>
            <a:custGeom>
              <a:avLst/>
              <a:gdLst>
                <a:gd name="T0" fmla="*/ 158 w 193"/>
                <a:gd name="T1" fmla="*/ 247 h 247"/>
                <a:gd name="T2" fmla="*/ 0 w 193"/>
                <a:gd name="T3" fmla="*/ 247 h 247"/>
                <a:gd name="T4" fmla="*/ 33 w 193"/>
                <a:gd name="T5" fmla="*/ 0 h 247"/>
                <a:gd name="T6" fmla="*/ 193 w 193"/>
                <a:gd name="T7" fmla="*/ 0 h 247"/>
                <a:gd name="T8" fmla="*/ 158 w 193"/>
                <a:gd name="T9" fmla="*/ 247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247">
                  <a:moveTo>
                    <a:pt x="158" y="247"/>
                  </a:moveTo>
                  <a:lnTo>
                    <a:pt x="0" y="247"/>
                  </a:lnTo>
                  <a:lnTo>
                    <a:pt x="33" y="0"/>
                  </a:lnTo>
                  <a:lnTo>
                    <a:pt x="193" y="0"/>
                  </a:lnTo>
                  <a:lnTo>
                    <a:pt x="158" y="247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1" name="矩形 80"/>
            <p:cNvSpPr/>
            <p:nvPr/>
          </p:nvSpPr>
          <p:spPr bwMode="auto">
            <a:xfrm>
              <a:off x="4092576" y="2176463"/>
              <a:ext cx="504825" cy="122238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2" name="矩形 81"/>
            <p:cNvSpPr/>
            <p:nvPr/>
          </p:nvSpPr>
          <p:spPr bwMode="auto">
            <a:xfrm>
              <a:off x="3903663" y="2176463"/>
              <a:ext cx="188913" cy="122238"/>
            </a:xfrm>
            <a:prstGeom prst="rect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3" name="矩形 82"/>
            <p:cNvSpPr/>
            <p:nvPr/>
          </p:nvSpPr>
          <p:spPr bwMode="auto">
            <a:xfrm>
              <a:off x="3903663" y="2190750"/>
              <a:ext cx="171450" cy="95250"/>
            </a:xfrm>
            <a:prstGeom prst="rect">
              <a:avLst/>
            </a:prstGeom>
            <a:solidFill>
              <a:srgbClr val="F0F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4" name="矩形 83"/>
            <p:cNvSpPr/>
            <p:nvPr/>
          </p:nvSpPr>
          <p:spPr bwMode="auto">
            <a:xfrm>
              <a:off x="4117976" y="1982788"/>
              <a:ext cx="409575" cy="98425"/>
            </a:xfrm>
            <a:prstGeom prst="rect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5" name="矩形 84"/>
            <p:cNvSpPr/>
            <p:nvPr/>
          </p:nvSpPr>
          <p:spPr bwMode="auto">
            <a:xfrm>
              <a:off x="3967163" y="1982788"/>
              <a:ext cx="150813" cy="98425"/>
            </a:xfrm>
            <a:prstGeom prst="rect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6" name="矩形 85"/>
            <p:cNvSpPr/>
            <p:nvPr/>
          </p:nvSpPr>
          <p:spPr bwMode="auto">
            <a:xfrm>
              <a:off x="3967163" y="1995488"/>
              <a:ext cx="138113" cy="76200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7" name="矩形 86"/>
            <p:cNvSpPr/>
            <p:nvPr/>
          </p:nvSpPr>
          <p:spPr bwMode="auto">
            <a:xfrm>
              <a:off x="5180013" y="2200275"/>
              <a:ext cx="409575" cy="98425"/>
            </a:xfrm>
            <a:prstGeom prst="rect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8" name="矩形 87"/>
            <p:cNvSpPr/>
            <p:nvPr/>
          </p:nvSpPr>
          <p:spPr bwMode="auto">
            <a:xfrm>
              <a:off x="5029201" y="2200275"/>
              <a:ext cx="150813" cy="98425"/>
            </a:xfrm>
            <a:prstGeom prst="rect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9" name="矩形 88"/>
            <p:cNvSpPr/>
            <p:nvPr/>
          </p:nvSpPr>
          <p:spPr bwMode="auto">
            <a:xfrm>
              <a:off x="5029201" y="2212975"/>
              <a:ext cx="138113" cy="76200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0" name="矩形 89"/>
            <p:cNvSpPr/>
            <p:nvPr/>
          </p:nvSpPr>
          <p:spPr bwMode="auto">
            <a:xfrm>
              <a:off x="4059238" y="2081213"/>
              <a:ext cx="508000" cy="95250"/>
            </a:xfrm>
            <a:prstGeom prst="rect">
              <a:avLst/>
            </a:prstGeom>
            <a:solidFill>
              <a:srgbClr val="F0F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1" name="矩形 90"/>
            <p:cNvSpPr/>
            <p:nvPr/>
          </p:nvSpPr>
          <p:spPr bwMode="auto">
            <a:xfrm>
              <a:off x="3871913" y="2081213"/>
              <a:ext cx="187325" cy="95250"/>
            </a:xfrm>
            <a:prstGeom prst="rect">
              <a:avLst/>
            </a:pr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2" name="矩形 91"/>
            <p:cNvSpPr/>
            <p:nvPr/>
          </p:nvSpPr>
          <p:spPr bwMode="auto">
            <a:xfrm>
              <a:off x="3871913" y="2095500"/>
              <a:ext cx="171450" cy="71438"/>
            </a:xfrm>
            <a:prstGeom prst="rect">
              <a:avLst/>
            </a:prstGeom>
            <a:solidFill>
              <a:srgbClr val="F0F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3" name="任意多边形 92"/>
            <p:cNvSpPr/>
            <p:nvPr/>
          </p:nvSpPr>
          <p:spPr bwMode="auto">
            <a:xfrm>
              <a:off x="6843713" y="1804988"/>
              <a:ext cx="1616075" cy="3486150"/>
            </a:xfrm>
            <a:custGeom>
              <a:avLst/>
              <a:gdLst>
                <a:gd name="T0" fmla="*/ 0 w 1018"/>
                <a:gd name="T1" fmla="*/ 0 h 2196"/>
                <a:gd name="T2" fmla="*/ 976 w 1018"/>
                <a:gd name="T3" fmla="*/ 0 h 2196"/>
                <a:gd name="T4" fmla="*/ 1018 w 1018"/>
                <a:gd name="T5" fmla="*/ 2196 h 2196"/>
                <a:gd name="T6" fmla="*/ 41 w 1018"/>
                <a:gd name="T7" fmla="*/ 2196 h 2196"/>
                <a:gd name="T8" fmla="*/ 0 w 1018"/>
                <a:gd name="T9" fmla="*/ 0 h 2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8" h="2196">
                  <a:moveTo>
                    <a:pt x="0" y="0"/>
                  </a:moveTo>
                  <a:lnTo>
                    <a:pt x="976" y="0"/>
                  </a:lnTo>
                  <a:lnTo>
                    <a:pt x="1018" y="2196"/>
                  </a:lnTo>
                  <a:lnTo>
                    <a:pt x="41" y="21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4" name="任意多边形 93"/>
            <p:cNvSpPr/>
            <p:nvPr/>
          </p:nvSpPr>
          <p:spPr bwMode="auto">
            <a:xfrm>
              <a:off x="6843713" y="1804988"/>
              <a:ext cx="1616075" cy="3486150"/>
            </a:xfrm>
            <a:custGeom>
              <a:avLst/>
              <a:gdLst>
                <a:gd name="T0" fmla="*/ 0 w 1018"/>
                <a:gd name="T1" fmla="*/ 0 h 2196"/>
                <a:gd name="T2" fmla="*/ 976 w 1018"/>
                <a:gd name="T3" fmla="*/ 0 h 2196"/>
                <a:gd name="T4" fmla="*/ 1018 w 1018"/>
                <a:gd name="T5" fmla="*/ 2196 h 2196"/>
                <a:gd name="T6" fmla="*/ 41 w 1018"/>
                <a:gd name="T7" fmla="*/ 2196 h 2196"/>
                <a:gd name="T8" fmla="*/ 0 w 1018"/>
                <a:gd name="T9" fmla="*/ 0 h 2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8" h="2196">
                  <a:moveTo>
                    <a:pt x="0" y="0"/>
                  </a:moveTo>
                  <a:lnTo>
                    <a:pt x="976" y="0"/>
                  </a:lnTo>
                  <a:lnTo>
                    <a:pt x="1018" y="2196"/>
                  </a:lnTo>
                  <a:lnTo>
                    <a:pt x="41" y="2196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5" name="任意多边形 94"/>
            <p:cNvSpPr/>
            <p:nvPr/>
          </p:nvSpPr>
          <p:spPr bwMode="auto">
            <a:xfrm>
              <a:off x="6899276" y="1857375"/>
              <a:ext cx="1504950" cy="3379788"/>
            </a:xfrm>
            <a:custGeom>
              <a:avLst/>
              <a:gdLst>
                <a:gd name="T0" fmla="*/ 455 w 456"/>
                <a:gd name="T1" fmla="*/ 963 h 1026"/>
                <a:gd name="T2" fmla="*/ 438 w 456"/>
                <a:gd name="T3" fmla="*/ 61 h 1026"/>
                <a:gd name="T4" fmla="*/ 376 w 456"/>
                <a:gd name="T5" fmla="*/ 0 h 1026"/>
                <a:gd name="T6" fmla="*/ 62 w 456"/>
                <a:gd name="T7" fmla="*/ 0 h 1026"/>
                <a:gd name="T8" fmla="*/ 1 w 456"/>
                <a:gd name="T9" fmla="*/ 63 h 1026"/>
                <a:gd name="T10" fmla="*/ 18 w 456"/>
                <a:gd name="T11" fmla="*/ 965 h 1026"/>
                <a:gd name="T12" fmla="*/ 79 w 456"/>
                <a:gd name="T13" fmla="*/ 1026 h 1026"/>
                <a:gd name="T14" fmla="*/ 394 w 456"/>
                <a:gd name="T15" fmla="*/ 1026 h 1026"/>
                <a:gd name="T16" fmla="*/ 455 w 456"/>
                <a:gd name="T17" fmla="*/ 963 h 10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6" h="1026">
                  <a:moveTo>
                    <a:pt x="455" y="963"/>
                  </a:moveTo>
                  <a:cubicBezTo>
                    <a:pt x="438" y="61"/>
                    <a:pt x="438" y="61"/>
                    <a:pt x="438" y="61"/>
                  </a:cubicBezTo>
                  <a:cubicBezTo>
                    <a:pt x="437" y="27"/>
                    <a:pt x="410" y="0"/>
                    <a:pt x="376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28" y="0"/>
                    <a:pt x="0" y="29"/>
                    <a:pt x="1" y="63"/>
                  </a:cubicBezTo>
                  <a:cubicBezTo>
                    <a:pt x="18" y="965"/>
                    <a:pt x="18" y="965"/>
                    <a:pt x="18" y="965"/>
                  </a:cubicBezTo>
                  <a:cubicBezTo>
                    <a:pt x="18" y="999"/>
                    <a:pt x="46" y="1026"/>
                    <a:pt x="79" y="1026"/>
                  </a:cubicBezTo>
                  <a:cubicBezTo>
                    <a:pt x="394" y="1026"/>
                    <a:pt x="394" y="1026"/>
                    <a:pt x="394" y="1026"/>
                  </a:cubicBezTo>
                  <a:cubicBezTo>
                    <a:pt x="428" y="1026"/>
                    <a:pt x="456" y="997"/>
                    <a:pt x="455" y="963"/>
                  </a:cubicBezTo>
                </a:path>
              </a:pathLst>
            </a:custGeom>
            <a:solidFill>
              <a:srgbClr val="F0F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6" name="任意多边形 95"/>
            <p:cNvSpPr/>
            <p:nvPr/>
          </p:nvSpPr>
          <p:spPr bwMode="auto">
            <a:xfrm>
              <a:off x="6813551" y="1804988"/>
              <a:ext cx="95250" cy="3486150"/>
            </a:xfrm>
            <a:custGeom>
              <a:avLst/>
              <a:gdLst>
                <a:gd name="T0" fmla="*/ 19 w 60"/>
                <a:gd name="T1" fmla="*/ 0 h 2196"/>
                <a:gd name="T2" fmla="*/ 0 w 60"/>
                <a:gd name="T3" fmla="*/ 0 h 2196"/>
                <a:gd name="T4" fmla="*/ 42 w 60"/>
                <a:gd name="T5" fmla="*/ 2196 h 2196"/>
                <a:gd name="T6" fmla="*/ 60 w 60"/>
                <a:gd name="T7" fmla="*/ 2196 h 2196"/>
                <a:gd name="T8" fmla="*/ 19 w 60"/>
                <a:gd name="T9" fmla="*/ 0 h 2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2196">
                  <a:moveTo>
                    <a:pt x="19" y="0"/>
                  </a:moveTo>
                  <a:lnTo>
                    <a:pt x="0" y="0"/>
                  </a:lnTo>
                  <a:lnTo>
                    <a:pt x="42" y="2196"/>
                  </a:lnTo>
                  <a:lnTo>
                    <a:pt x="60" y="2196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7" name="任意多边形 96"/>
            <p:cNvSpPr/>
            <p:nvPr/>
          </p:nvSpPr>
          <p:spPr bwMode="auto">
            <a:xfrm>
              <a:off x="6813551" y="1804988"/>
              <a:ext cx="95250" cy="3486150"/>
            </a:xfrm>
            <a:custGeom>
              <a:avLst/>
              <a:gdLst>
                <a:gd name="T0" fmla="*/ 19 w 60"/>
                <a:gd name="T1" fmla="*/ 0 h 2196"/>
                <a:gd name="T2" fmla="*/ 0 w 60"/>
                <a:gd name="T3" fmla="*/ 0 h 2196"/>
                <a:gd name="T4" fmla="*/ 42 w 60"/>
                <a:gd name="T5" fmla="*/ 2196 h 2196"/>
                <a:gd name="T6" fmla="*/ 60 w 60"/>
                <a:gd name="T7" fmla="*/ 2196 h 2196"/>
                <a:gd name="T8" fmla="*/ 19 w 60"/>
                <a:gd name="T9" fmla="*/ 0 h 2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2196">
                  <a:moveTo>
                    <a:pt x="19" y="0"/>
                  </a:moveTo>
                  <a:lnTo>
                    <a:pt x="0" y="0"/>
                  </a:lnTo>
                  <a:lnTo>
                    <a:pt x="42" y="2196"/>
                  </a:lnTo>
                  <a:lnTo>
                    <a:pt x="60" y="2196"/>
                  </a:lnTo>
                  <a:lnTo>
                    <a:pt x="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8" name="任意多边形 97"/>
            <p:cNvSpPr/>
            <p:nvPr/>
          </p:nvSpPr>
          <p:spPr bwMode="auto">
            <a:xfrm>
              <a:off x="7670801" y="1857375"/>
              <a:ext cx="425450" cy="3379788"/>
            </a:xfrm>
            <a:custGeom>
              <a:avLst/>
              <a:gdLst>
                <a:gd name="T0" fmla="*/ 0 w 268"/>
                <a:gd name="T1" fmla="*/ 0 h 2129"/>
                <a:gd name="T2" fmla="*/ 148 w 268"/>
                <a:gd name="T3" fmla="*/ 0 h 2129"/>
                <a:gd name="T4" fmla="*/ 268 w 268"/>
                <a:gd name="T5" fmla="*/ 2129 h 2129"/>
                <a:gd name="T6" fmla="*/ 121 w 268"/>
                <a:gd name="T7" fmla="*/ 2129 h 2129"/>
                <a:gd name="T8" fmla="*/ 0 w 268"/>
                <a:gd name="T9" fmla="*/ 0 h 2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8" h="2129">
                  <a:moveTo>
                    <a:pt x="0" y="0"/>
                  </a:moveTo>
                  <a:lnTo>
                    <a:pt x="148" y="0"/>
                  </a:lnTo>
                  <a:lnTo>
                    <a:pt x="268" y="2129"/>
                  </a:lnTo>
                  <a:lnTo>
                    <a:pt x="121" y="212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9" name="任意多边形 98"/>
            <p:cNvSpPr/>
            <p:nvPr/>
          </p:nvSpPr>
          <p:spPr bwMode="auto">
            <a:xfrm>
              <a:off x="7486651" y="1857375"/>
              <a:ext cx="309563" cy="3379788"/>
            </a:xfrm>
            <a:custGeom>
              <a:avLst/>
              <a:gdLst>
                <a:gd name="T0" fmla="*/ 0 w 195"/>
                <a:gd name="T1" fmla="*/ 0 h 2129"/>
                <a:gd name="T2" fmla="*/ 75 w 195"/>
                <a:gd name="T3" fmla="*/ 0 h 2129"/>
                <a:gd name="T4" fmla="*/ 195 w 195"/>
                <a:gd name="T5" fmla="*/ 2129 h 2129"/>
                <a:gd name="T6" fmla="*/ 120 w 195"/>
                <a:gd name="T7" fmla="*/ 2129 h 2129"/>
                <a:gd name="T8" fmla="*/ 0 w 195"/>
                <a:gd name="T9" fmla="*/ 0 h 2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" h="2129">
                  <a:moveTo>
                    <a:pt x="0" y="0"/>
                  </a:moveTo>
                  <a:lnTo>
                    <a:pt x="75" y="0"/>
                  </a:lnTo>
                  <a:lnTo>
                    <a:pt x="195" y="2129"/>
                  </a:lnTo>
                  <a:lnTo>
                    <a:pt x="120" y="212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0" name="椭圆 99"/>
            <p:cNvSpPr/>
            <p:nvPr/>
          </p:nvSpPr>
          <p:spPr bwMode="auto">
            <a:xfrm>
              <a:off x="3538538" y="5586413"/>
              <a:ext cx="5119688" cy="296863"/>
            </a:xfrm>
            <a:prstGeom prst="ellipse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1" name="任意多边形 100"/>
            <p:cNvSpPr/>
            <p:nvPr/>
          </p:nvSpPr>
          <p:spPr bwMode="auto">
            <a:xfrm>
              <a:off x="5203826" y="4278313"/>
              <a:ext cx="1138238" cy="139700"/>
            </a:xfrm>
            <a:custGeom>
              <a:avLst/>
              <a:gdLst>
                <a:gd name="T0" fmla="*/ 0 w 345"/>
                <a:gd name="T1" fmla="*/ 42 h 42"/>
                <a:gd name="T2" fmla="*/ 345 w 345"/>
                <a:gd name="T3" fmla="*/ 42 h 42"/>
                <a:gd name="T4" fmla="*/ 288 w 345"/>
                <a:gd name="T5" fmla="*/ 0 h 42"/>
                <a:gd name="T6" fmla="*/ 20 w 345"/>
                <a:gd name="T7" fmla="*/ 0 h 42"/>
                <a:gd name="T8" fmla="*/ 0 w 345"/>
                <a:gd name="T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5" h="42">
                  <a:moveTo>
                    <a:pt x="0" y="42"/>
                  </a:moveTo>
                  <a:cubicBezTo>
                    <a:pt x="345" y="42"/>
                    <a:pt x="345" y="42"/>
                    <a:pt x="345" y="42"/>
                  </a:cubicBezTo>
                  <a:cubicBezTo>
                    <a:pt x="333" y="16"/>
                    <a:pt x="311" y="0"/>
                    <a:pt x="288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0" y="42"/>
                    <a:pt x="0" y="42"/>
                    <a:pt x="0" y="42"/>
                  </a:cubicBezTo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2" name="任意多边形 101"/>
            <p:cNvSpPr/>
            <p:nvPr/>
          </p:nvSpPr>
          <p:spPr bwMode="auto">
            <a:xfrm>
              <a:off x="5002213" y="4278313"/>
              <a:ext cx="465138" cy="139700"/>
            </a:xfrm>
            <a:custGeom>
              <a:avLst/>
              <a:gdLst>
                <a:gd name="T0" fmla="*/ 3 w 141"/>
                <a:gd name="T1" fmla="*/ 42 h 42"/>
                <a:gd name="T2" fmla="*/ 141 w 141"/>
                <a:gd name="T3" fmla="*/ 42 h 42"/>
                <a:gd name="T4" fmla="*/ 84 w 141"/>
                <a:gd name="T5" fmla="*/ 0 h 42"/>
                <a:gd name="T6" fmla="*/ 35 w 141"/>
                <a:gd name="T7" fmla="*/ 0 h 42"/>
                <a:gd name="T8" fmla="*/ 3 w 141"/>
                <a:gd name="T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42">
                  <a:moveTo>
                    <a:pt x="3" y="42"/>
                  </a:moveTo>
                  <a:cubicBezTo>
                    <a:pt x="141" y="42"/>
                    <a:pt x="141" y="42"/>
                    <a:pt x="141" y="42"/>
                  </a:cubicBezTo>
                  <a:cubicBezTo>
                    <a:pt x="129" y="16"/>
                    <a:pt x="107" y="0"/>
                    <a:pt x="84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11" y="0"/>
                    <a:pt x="0" y="13"/>
                    <a:pt x="3" y="42"/>
                  </a:cubicBezTo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3" name="任意多边形 102"/>
            <p:cNvSpPr/>
            <p:nvPr/>
          </p:nvSpPr>
          <p:spPr bwMode="auto">
            <a:xfrm>
              <a:off x="5008563" y="4278313"/>
              <a:ext cx="458788" cy="139700"/>
            </a:xfrm>
            <a:custGeom>
              <a:avLst/>
              <a:gdLst>
                <a:gd name="T0" fmla="*/ 53 w 139"/>
                <a:gd name="T1" fmla="*/ 0 h 42"/>
                <a:gd name="T2" fmla="*/ 33 w 139"/>
                <a:gd name="T3" fmla="*/ 0 h 42"/>
                <a:gd name="T4" fmla="*/ 0 w 139"/>
                <a:gd name="T5" fmla="*/ 33 h 42"/>
                <a:gd name="T6" fmla="*/ 1 w 139"/>
                <a:gd name="T7" fmla="*/ 42 h 42"/>
                <a:gd name="T8" fmla="*/ 139 w 139"/>
                <a:gd name="T9" fmla="*/ 42 h 42"/>
                <a:gd name="T10" fmla="*/ 107 w 139"/>
                <a:gd name="T11" fmla="*/ 6 h 42"/>
                <a:gd name="T12" fmla="*/ 53 w 139"/>
                <a:gd name="T1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42">
                  <a:moveTo>
                    <a:pt x="53" y="0"/>
                  </a:moveTo>
                  <a:cubicBezTo>
                    <a:pt x="33" y="0"/>
                    <a:pt x="33" y="0"/>
                    <a:pt x="33" y="0"/>
                  </a:cubicBezTo>
                  <a:cubicBezTo>
                    <a:pt x="12" y="0"/>
                    <a:pt x="0" y="10"/>
                    <a:pt x="0" y="33"/>
                  </a:cubicBezTo>
                  <a:cubicBezTo>
                    <a:pt x="1" y="35"/>
                    <a:pt x="1" y="39"/>
                    <a:pt x="1" y="42"/>
                  </a:cubicBezTo>
                  <a:cubicBezTo>
                    <a:pt x="139" y="42"/>
                    <a:pt x="139" y="42"/>
                    <a:pt x="139" y="42"/>
                  </a:cubicBezTo>
                  <a:cubicBezTo>
                    <a:pt x="132" y="25"/>
                    <a:pt x="120" y="13"/>
                    <a:pt x="107" y="6"/>
                  </a:cubicBezTo>
                  <a:cubicBezTo>
                    <a:pt x="88" y="5"/>
                    <a:pt x="69" y="3"/>
                    <a:pt x="53" y="0"/>
                  </a:cubicBezTo>
                </a:path>
              </a:pathLst>
            </a:custGeom>
            <a:solidFill>
              <a:srgbClr val="3356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4" name="任意多边形 103"/>
            <p:cNvSpPr/>
            <p:nvPr/>
          </p:nvSpPr>
          <p:spPr bwMode="auto">
            <a:xfrm>
              <a:off x="5402263" y="4418013"/>
              <a:ext cx="520700" cy="1300163"/>
            </a:xfrm>
            <a:custGeom>
              <a:avLst/>
              <a:gdLst>
                <a:gd name="T0" fmla="*/ 259 w 328"/>
                <a:gd name="T1" fmla="*/ 757 h 819"/>
                <a:gd name="T2" fmla="*/ 197 w 328"/>
                <a:gd name="T3" fmla="*/ 757 h 819"/>
                <a:gd name="T4" fmla="*/ 197 w 328"/>
                <a:gd name="T5" fmla="*/ 0 h 819"/>
                <a:gd name="T6" fmla="*/ 131 w 328"/>
                <a:gd name="T7" fmla="*/ 0 h 819"/>
                <a:gd name="T8" fmla="*/ 131 w 328"/>
                <a:gd name="T9" fmla="*/ 757 h 819"/>
                <a:gd name="T10" fmla="*/ 68 w 328"/>
                <a:gd name="T11" fmla="*/ 757 h 819"/>
                <a:gd name="T12" fmla="*/ 0 w 328"/>
                <a:gd name="T13" fmla="*/ 819 h 819"/>
                <a:gd name="T14" fmla="*/ 131 w 328"/>
                <a:gd name="T15" fmla="*/ 819 h 819"/>
                <a:gd name="T16" fmla="*/ 197 w 328"/>
                <a:gd name="T17" fmla="*/ 819 h 819"/>
                <a:gd name="T18" fmla="*/ 328 w 328"/>
                <a:gd name="T19" fmla="*/ 819 h 819"/>
                <a:gd name="T20" fmla="*/ 259 w 328"/>
                <a:gd name="T21" fmla="*/ 757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8" h="819">
                  <a:moveTo>
                    <a:pt x="259" y="757"/>
                  </a:moveTo>
                  <a:lnTo>
                    <a:pt x="197" y="757"/>
                  </a:lnTo>
                  <a:lnTo>
                    <a:pt x="197" y="0"/>
                  </a:lnTo>
                  <a:lnTo>
                    <a:pt x="131" y="0"/>
                  </a:lnTo>
                  <a:lnTo>
                    <a:pt x="131" y="757"/>
                  </a:lnTo>
                  <a:lnTo>
                    <a:pt x="68" y="757"/>
                  </a:lnTo>
                  <a:lnTo>
                    <a:pt x="0" y="819"/>
                  </a:lnTo>
                  <a:lnTo>
                    <a:pt x="131" y="819"/>
                  </a:lnTo>
                  <a:lnTo>
                    <a:pt x="197" y="819"/>
                  </a:lnTo>
                  <a:lnTo>
                    <a:pt x="328" y="819"/>
                  </a:lnTo>
                  <a:lnTo>
                    <a:pt x="259" y="757"/>
                  </a:ln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5" name="任意多边形 104"/>
            <p:cNvSpPr/>
            <p:nvPr/>
          </p:nvSpPr>
          <p:spPr bwMode="auto">
            <a:xfrm>
              <a:off x="5402263" y="4418013"/>
              <a:ext cx="520700" cy="1300163"/>
            </a:xfrm>
            <a:custGeom>
              <a:avLst/>
              <a:gdLst>
                <a:gd name="T0" fmla="*/ 259 w 328"/>
                <a:gd name="T1" fmla="*/ 757 h 819"/>
                <a:gd name="T2" fmla="*/ 197 w 328"/>
                <a:gd name="T3" fmla="*/ 757 h 819"/>
                <a:gd name="T4" fmla="*/ 197 w 328"/>
                <a:gd name="T5" fmla="*/ 0 h 819"/>
                <a:gd name="T6" fmla="*/ 131 w 328"/>
                <a:gd name="T7" fmla="*/ 0 h 819"/>
                <a:gd name="T8" fmla="*/ 131 w 328"/>
                <a:gd name="T9" fmla="*/ 757 h 819"/>
                <a:gd name="T10" fmla="*/ 68 w 328"/>
                <a:gd name="T11" fmla="*/ 757 h 819"/>
                <a:gd name="T12" fmla="*/ 0 w 328"/>
                <a:gd name="T13" fmla="*/ 819 h 819"/>
                <a:gd name="T14" fmla="*/ 131 w 328"/>
                <a:gd name="T15" fmla="*/ 819 h 819"/>
                <a:gd name="T16" fmla="*/ 197 w 328"/>
                <a:gd name="T17" fmla="*/ 819 h 819"/>
                <a:gd name="T18" fmla="*/ 328 w 328"/>
                <a:gd name="T19" fmla="*/ 819 h 819"/>
                <a:gd name="T20" fmla="*/ 259 w 328"/>
                <a:gd name="T21" fmla="*/ 757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8" h="819">
                  <a:moveTo>
                    <a:pt x="259" y="757"/>
                  </a:moveTo>
                  <a:lnTo>
                    <a:pt x="197" y="757"/>
                  </a:lnTo>
                  <a:lnTo>
                    <a:pt x="197" y="0"/>
                  </a:lnTo>
                  <a:lnTo>
                    <a:pt x="131" y="0"/>
                  </a:lnTo>
                  <a:lnTo>
                    <a:pt x="131" y="757"/>
                  </a:lnTo>
                  <a:lnTo>
                    <a:pt x="68" y="757"/>
                  </a:lnTo>
                  <a:lnTo>
                    <a:pt x="0" y="819"/>
                  </a:lnTo>
                  <a:lnTo>
                    <a:pt x="131" y="819"/>
                  </a:lnTo>
                  <a:lnTo>
                    <a:pt x="197" y="819"/>
                  </a:lnTo>
                  <a:lnTo>
                    <a:pt x="328" y="819"/>
                  </a:lnTo>
                  <a:lnTo>
                    <a:pt x="259" y="75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6" name="任意多边形 105"/>
            <p:cNvSpPr/>
            <p:nvPr/>
          </p:nvSpPr>
          <p:spPr bwMode="auto">
            <a:xfrm>
              <a:off x="5402263" y="4418013"/>
              <a:ext cx="520700" cy="1300163"/>
            </a:xfrm>
            <a:custGeom>
              <a:avLst/>
              <a:gdLst>
                <a:gd name="T0" fmla="*/ 131 w 328"/>
                <a:gd name="T1" fmla="*/ 0 h 819"/>
                <a:gd name="T2" fmla="*/ 131 w 328"/>
                <a:gd name="T3" fmla="*/ 0 h 819"/>
                <a:gd name="T4" fmla="*/ 131 w 328"/>
                <a:gd name="T5" fmla="*/ 757 h 819"/>
                <a:gd name="T6" fmla="*/ 68 w 328"/>
                <a:gd name="T7" fmla="*/ 757 h 819"/>
                <a:gd name="T8" fmla="*/ 0 w 328"/>
                <a:gd name="T9" fmla="*/ 819 h 819"/>
                <a:gd name="T10" fmla="*/ 131 w 328"/>
                <a:gd name="T11" fmla="*/ 819 h 819"/>
                <a:gd name="T12" fmla="*/ 197 w 328"/>
                <a:gd name="T13" fmla="*/ 819 h 819"/>
                <a:gd name="T14" fmla="*/ 328 w 328"/>
                <a:gd name="T15" fmla="*/ 819 h 819"/>
                <a:gd name="T16" fmla="*/ 259 w 328"/>
                <a:gd name="T17" fmla="*/ 757 h 819"/>
                <a:gd name="T18" fmla="*/ 197 w 328"/>
                <a:gd name="T19" fmla="*/ 757 h 819"/>
                <a:gd name="T20" fmla="*/ 197 w 328"/>
                <a:gd name="T21" fmla="*/ 736 h 819"/>
                <a:gd name="T22" fmla="*/ 197 w 328"/>
                <a:gd name="T23" fmla="*/ 552 h 819"/>
                <a:gd name="T24" fmla="*/ 197 w 328"/>
                <a:gd name="T25" fmla="*/ 550 h 819"/>
                <a:gd name="T26" fmla="*/ 197 w 328"/>
                <a:gd name="T27" fmla="*/ 24 h 819"/>
                <a:gd name="T28" fmla="*/ 131 w 328"/>
                <a:gd name="T29" fmla="*/ 24 h 819"/>
                <a:gd name="T30" fmla="*/ 131 w 328"/>
                <a:gd name="T31" fmla="*/ 0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28" h="819">
                  <a:moveTo>
                    <a:pt x="131" y="0"/>
                  </a:moveTo>
                  <a:lnTo>
                    <a:pt x="131" y="0"/>
                  </a:lnTo>
                  <a:lnTo>
                    <a:pt x="131" y="757"/>
                  </a:lnTo>
                  <a:lnTo>
                    <a:pt x="68" y="757"/>
                  </a:lnTo>
                  <a:lnTo>
                    <a:pt x="0" y="819"/>
                  </a:lnTo>
                  <a:lnTo>
                    <a:pt x="131" y="819"/>
                  </a:lnTo>
                  <a:lnTo>
                    <a:pt x="197" y="819"/>
                  </a:lnTo>
                  <a:lnTo>
                    <a:pt x="328" y="819"/>
                  </a:lnTo>
                  <a:lnTo>
                    <a:pt x="259" y="757"/>
                  </a:lnTo>
                  <a:lnTo>
                    <a:pt x="197" y="757"/>
                  </a:lnTo>
                  <a:lnTo>
                    <a:pt x="197" y="736"/>
                  </a:lnTo>
                  <a:lnTo>
                    <a:pt x="197" y="552"/>
                  </a:lnTo>
                  <a:lnTo>
                    <a:pt x="197" y="550"/>
                  </a:lnTo>
                  <a:lnTo>
                    <a:pt x="197" y="24"/>
                  </a:lnTo>
                  <a:lnTo>
                    <a:pt x="131" y="24"/>
                  </a:lnTo>
                  <a:lnTo>
                    <a:pt x="131" y="0"/>
                  </a:lnTo>
                  <a:close/>
                </a:path>
              </a:pathLst>
            </a:custGeom>
            <a:solidFill>
              <a:srgbClr val="C6D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7" name="任意多边形 106"/>
            <p:cNvSpPr/>
            <p:nvPr/>
          </p:nvSpPr>
          <p:spPr bwMode="auto">
            <a:xfrm>
              <a:off x="5402263" y="4418013"/>
              <a:ext cx="520700" cy="1300163"/>
            </a:xfrm>
            <a:custGeom>
              <a:avLst/>
              <a:gdLst>
                <a:gd name="T0" fmla="*/ 131 w 328"/>
                <a:gd name="T1" fmla="*/ 0 h 819"/>
                <a:gd name="T2" fmla="*/ 131 w 328"/>
                <a:gd name="T3" fmla="*/ 0 h 819"/>
                <a:gd name="T4" fmla="*/ 131 w 328"/>
                <a:gd name="T5" fmla="*/ 757 h 819"/>
                <a:gd name="T6" fmla="*/ 68 w 328"/>
                <a:gd name="T7" fmla="*/ 757 h 819"/>
                <a:gd name="T8" fmla="*/ 0 w 328"/>
                <a:gd name="T9" fmla="*/ 819 h 819"/>
                <a:gd name="T10" fmla="*/ 131 w 328"/>
                <a:gd name="T11" fmla="*/ 819 h 819"/>
                <a:gd name="T12" fmla="*/ 197 w 328"/>
                <a:gd name="T13" fmla="*/ 819 h 819"/>
                <a:gd name="T14" fmla="*/ 328 w 328"/>
                <a:gd name="T15" fmla="*/ 819 h 819"/>
                <a:gd name="T16" fmla="*/ 259 w 328"/>
                <a:gd name="T17" fmla="*/ 757 h 819"/>
                <a:gd name="T18" fmla="*/ 197 w 328"/>
                <a:gd name="T19" fmla="*/ 757 h 819"/>
                <a:gd name="T20" fmla="*/ 197 w 328"/>
                <a:gd name="T21" fmla="*/ 736 h 819"/>
                <a:gd name="T22" fmla="*/ 197 w 328"/>
                <a:gd name="T23" fmla="*/ 552 h 819"/>
                <a:gd name="T24" fmla="*/ 197 w 328"/>
                <a:gd name="T25" fmla="*/ 550 h 819"/>
                <a:gd name="T26" fmla="*/ 197 w 328"/>
                <a:gd name="T27" fmla="*/ 24 h 819"/>
                <a:gd name="T28" fmla="*/ 131 w 328"/>
                <a:gd name="T29" fmla="*/ 24 h 819"/>
                <a:gd name="T30" fmla="*/ 131 w 328"/>
                <a:gd name="T31" fmla="*/ 0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28" h="819">
                  <a:moveTo>
                    <a:pt x="131" y="0"/>
                  </a:moveTo>
                  <a:lnTo>
                    <a:pt x="131" y="0"/>
                  </a:lnTo>
                  <a:lnTo>
                    <a:pt x="131" y="757"/>
                  </a:lnTo>
                  <a:lnTo>
                    <a:pt x="68" y="757"/>
                  </a:lnTo>
                  <a:lnTo>
                    <a:pt x="0" y="819"/>
                  </a:lnTo>
                  <a:lnTo>
                    <a:pt x="131" y="819"/>
                  </a:lnTo>
                  <a:lnTo>
                    <a:pt x="197" y="819"/>
                  </a:lnTo>
                  <a:lnTo>
                    <a:pt x="328" y="819"/>
                  </a:lnTo>
                  <a:lnTo>
                    <a:pt x="259" y="757"/>
                  </a:lnTo>
                  <a:lnTo>
                    <a:pt x="197" y="757"/>
                  </a:lnTo>
                  <a:lnTo>
                    <a:pt x="197" y="736"/>
                  </a:lnTo>
                  <a:lnTo>
                    <a:pt x="197" y="552"/>
                  </a:lnTo>
                  <a:lnTo>
                    <a:pt x="197" y="550"/>
                  </a:lnTo>
                  <a:lnTo>
                    <a:pt x="197" y="24"/>
                  </a:lnTo>
                  <a:lnTo>
                    <a:pt x="131" y="24"/>
                  </a:lnTo>
                  <a:lnTo>
                    <a:pt x="13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8" name="矩形 107"/>
            <p:cNvSpPr/>
            <p:nvPr/>
          </p:nvSpPr>
          <p:spPr bwMode="auto">
            <a:xfrm>
              <a:off x="5610226" y="4418013"/>
              <a:ext cx="104775" cy="38100"/>
            </a:xfrm>
            <a:prstGeom prst="rect">
              <a:avLst/>
            </a:prstGeom>
            <a:solidFill>
              <a:srgbClr val="83A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9" name="矩形 108"/>
            <p:cNvSpPr/>
            <p:nvPr/>
          </p:nvSpPr>
          <p:spPr bwMode="auto">
            <a:xfrm>
              <a:off x="5610226" y="4418013"/>
              <a:ext cx="104775" cy="381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0" name="任意多边形 109"/>
            <p:cNvSpPr/>
            <p:nvPr/>
          </p:nvSpPr>
          <p:spPr bwMode="auto">
            <a:xfrm>
              <a:off x="6394451" y="5273675"/>
              <a:ext cx="149225" cy="312738"/>
            </a:xfrm>
            <a:custGeom>
              <a:avLst/>
              <a:gdLst>
                <a:gd name="T0" fmla="*/ 19 w 94"/>
                <a:gd name="T1" fmla="*/ 197 h 197"/>
                <a:gd name="T2" fmla="*/ 94 w 94"/>
                <a:gd name="T3" fmla="*/ 179 h 197"/>
                <a:gd name="T4" fmla="*/ 75 w 94"/>
                <a:gd name="T5" fmla="*/ 0 h 197"/>
                <a:gd name="T6" fmla="*/ 0 w 94"/>
                <a:gd name="T7" fmla="*/ 19 h 197"/>
                <a:gd name="T8" fmla="*/ 19 w 94"/>
                <a:gd name="T9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197">
                  <a:moveTo>
                    <a:pt x="19" y="197"/>
                  </a:moveTo>
                  <a:lnTo>
                    <a:pt x="94" y="179"/>
                  </a:lnTo>
                  <a:lnTo>
                    <a:pt x="75" y="0"/>
                  </a:lnTo>
                  <a:lnTo>
                    <a:pt x="0" y="19"/>
                  </a:lnTo>
                  <a:lnTo>
                    <a:pt x="19" y="197"/>
                  </a:lnTo>
                  <a:close/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1" name="任意多边形 110"/>
            <p:cNvSpPr/>
            <p:nvPr/>
          </p:nvSpPr>
          <p:spPr bwMode="auto">
            <a:xfrm>
              <a:off x="6394451" y="5273675"/>
              <a:ext cx="149225" cy="312738"/>
            </a:xfrm>
            <a:custGeom>
              <a:avLst/>
              <a:gdLst>
                <a:gd name="T0" fmla="*/ 19 w 94"/>
                <a:gd name="T1" fmla="*/ 197 h 197"/>
                <a:gd name="T2" fmla="*/ 94 w 94"/>
                <a:gd name="T3" fmla="*/ 179 h 197"/>
                <a:gd name="T4" fmla="*/ 75 w 94"/>
                <a:gd name="T5" fmla="*/ 0 h 197"/>
                <a:gd name="T6" fmla="*/ 0 w 94"/>
                <a:gd name="T7" fmla="*/ 19 h 197"/>
                <a:gd name="T8" fmla="*/ 19 w 94"/>
                <a:gd name="T9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197">
                  <a:moveTo>
                    <a:pt x="19" y="197"/>
                  </a:moveTo>
                  <a:lnTo>
                    <a:pt x="94" y="179"/>
                  </a:lnTo>
                  <a:lnTo>
                    <a:pt x="75" y="0"/>
                  </a:lnTo>
                  <a:lnTo>
                    <a:pt x="0" y="19"/>
                  </a:lnTo>
                  <a:lnTo>
                    <a:pt x="19" y="19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2" name="任意多边形 111"/>
            <p:cNvSpPr/>
            <p:nvPr/>
          </p:nvSpPr>
          <p:spPr bwMode="auto">
            <a:xfrm>
              <a:off x="6403976" y="5503863"/>
              <a:ext cx="376238" cy="155575"/>
            </a:xfrm>
            <a:custGeom>
              <a:avLst/>
              <a:gdLst>
                <a:gd name="T0" fmla="*/ 43 w 114"/>
                <a:gd name="T1" fmla="*/ 0 h 47"/>
                <a:gd name="T2" fmla="*/ 2 w 114"/>
                <a:gd name="T3" fmla="*/ 5 h 47"/>
                <a:gd name="T4" fmla="*/ 0 w 114"/>
                <a:gd name="T5" fmla="*/ 8 h 47"/>
                <a:gd name="T6" fmla="*/ 2 w 114"/>
                <a:gd name="T7" fmla="*/ 41 h 47"/>
                <a:gd name="T8" fmla="*/ 9 w 114"/>
                <a:gd name="T9" fmla="*/ 47 h 47"/>
                <a:gd name="T10" fmla="*/ 47 w 114"/>
                <a:gd name="T11" fmla="*/ 39 h 47"/>
                <a:gd name="T12" fmla="*/ 99 w 114"/>
                <a:gd name="T13" fmla="*/ 27 h 47"/>
                <a:gd name="T14" fmla="*/ 102 w 114"/>
                <a:gd name="T15" fmla="*/ 8 h 47"/>
                <a:gd name="T16" fmla="*/ 50 w 114"/>
                <a:gd name="T17" fmla="*/ 1 h 47"/>
                <a:gd name="T18" fmla="*/ 43 w 114"/>
                <a:gd name="T1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47">
                  <a:moveTo>
                    <a:pt x="43" y="0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7"/>
                    <a:pt x="0" y="8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2" y="44"/>
                    <a:pt x="6" y="47"/>
                    <a:pt x="9" y="47"/>
                  </a:cubicBezTo>
                  <a:cubicBezTo>
                    <a:pt x="23" y="44"/>
                    <a:pt x="29" y="43"/>
                    <a:pt x="47" y="39"/>
                  </a:cubicBezTo>
                  <a:cubicBezTo>
                    <a:pt x="58" y="37"/>
                    <a:pt x="85" y="32"/>
                    <a:pt x="99" y="27"/>
                  </a:cubicBezTo>
                  <a:cubicBezTo>
                    <a:pt x="114" y="22"/>
                    <a:pt x="109" y="7"/>
                    <a:pt x="102" y="8"/>
                  </a:cubicBezTo>
                  <a:cubicBezTo>
                    <a:pt x="86" y="10"/>
                    <a:pt x="61" y="8"/>
                    <a:pt x="50" y="1"/>
                  </a:cubicBezTo>
                  <a:cubicBezTo>
                    <a:pt x="48" y="0"/>
                    <a:pt x="45" y="0"/>
                    <a:pt x="43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3" name="任意多边形 112"/>
            <p:cNvSpPr/>
            <p:nvPr/>
          </p:nvSpPr>
          <p:spPr bwMode="auto">
            <a:xfrm>
              <a:off x="6400801" y="5332413"/>
              <a:ext cx="122238" cy="103188"/>
            </a:xfrm>
            <a:custGeom>
              <a:avLst/>
              <a:gdLst>
                <a:gd name="T0" fmla="*/ 0 w 77"/>
                <a:gd name="T1" fmla="*/ 11 h 65"/>
                <a:gd name="T2" fmla="*/ 0 w 77"/>
                <a:gd name="T3" fmla="*/ 11 h 65"/>
                <a:gd name="T4" fmla="*/ 4 w 77"/>
                <a:gd name="T5" fmla="*/ 65 h 65"/>
                <a:gd name="T6" fmla="*/ 4 w 77"/>
                <a:gd name="T7" fmla="*/ 65 h 65"/>
                <a:gd name="T8" fmla="*/ 0 w 77"/>
                <a:gd name="T9" fmla="*/ 11 h 65"/>
                <a:gd name="T10" fmla="*/ 75 w 77"/>
                <a:gd name="T11" fmla="*/ 0 h 65"/>
                <a:gd name="T12" fmla="*/ 75 w 77"/>
                <a:gd name="T13" fmla="*/ 0 h 65"/>
                <a:gd name="T14" fmla="*/ 77 w 77"/>
                <a:gd name="T15" fmla="*/ 17 h 65"/>
                <a:gd name="T16" fmla="*/ 75 w 77"/>
                <a:gd name="T1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65">
                  <a:moveTo>
                    <a:pt x="0" y="11"/>
                  </a:moveTo>
                  <a:lnTo>
                    <a:pt x="0" y="11"/>
                  </a:lnTo>
                  <a:lnTo>
                    <a:pt x="4" y="65"/>
                  </a:lnTo>
                  <a:lnTo>
                    <a:pt x="4" y="65"/>
                  </a:lnTo>
                  <a:lnTo>
                    <a:pt x="0" y="11"/>
                  </a:lnTo>
                  <a:close/>
                  <a:moveTo>
                    <a:pt x="75" y="0"/>
                  </a:moveTo>
                  <a:lnTo>
                    <a:pt x="75" y="0"/>
                  </a:lnTo>
                  <a:lnTo>
                    <a:pt x="77" y="17"/>
                  </a:lnTo>
                  <a:lnTo>
                    <a:pt x="75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4" name="任意多边形 113"/>
            <p:cNvSpPr/>
            <p:nvPr/>
          </p:nvSpPr>
          <p:spPr bwMode="auto">
            <a:xfrm>
              <a:off x="6400801" y="5332413"/>
              <a:ext cx="122238" cy="103188"/>
            </a:xfrm>
            <a:custGeom>
              <a:avLst/>
              <a:gdLst>
                <a:gd name="T0" fmla="*/ 0 w 77"/>
                <a:gd name="T1" fmla="*/ 11 h 65"/>
                <a:gd name="T2" fmla="*/ 0 w 77"/>
                <a:gd name="T3" fmla="*/ 11 h 65"/>
                <a:gd name="T4" fmla="*/ 4 w 77"/>
                <a:gd name="T5" fmla="*/ 65 h 65"/>
                <a:gd name="T6" fmla="*/ 4 w 77"/>
                <a:gd name="T7" fmla="*/ 65 h 65"/>
                <a:gd name="T8" fmla="*/ 0 w 77"/>
                <a:gd name="T9" fmla="*/ 11 h 65"/>
                <a:gd name="T10" fmla="*/ 75 w 77"/>
                <a:gd name="T11" fmla="*/ 0 h 65"/>
                <a:gd name="T12" fmla="*/ 75 w 77"/>
                <a:gd name="T13" fmla="*/ 0 h 65"/>
                <a:gd name="T14" fmla="*/ 77 w 77"/>
                <a:gd name="T15" fmla="*/ 17 h 65"/>
                <a:gd name="T16" fmla="*/ 75 w 77"/>
                <a:gd name="T1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65">
                  <a:moveTo>
                    <a:pt x="0" y="11"/>
                  </a:moveTo>
                  <a:lnTo>
                    <a:pt x="0" y="11"/>
                  </a:lnTo>
                  <a:lnTo>
                    <a:pt x="4" y="65"/>
                  </a:lnTo>
                  <a:lnTo>
                    <a:pt x="4" y="65"/>
                  </a:lnTo>
                  <a:lnTo>
                    <a:pt x="0" y="11"/>
                  </a:lnTo>
                  <a:moveTo>
                    <a:pt x="75" y="0"/>
                  </a:moveTo>
                  <a:lnTo>
                    <a:pt x="75" y="0"/>
                  </a:lnTo>
                  <a:lnTo>
                    <a:pt x="77" y="17"/>
                  </a:lnTo>
                  <a:lnTo>
                    <a:pt x="7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5" name="任意多边形 114"/>
            <p:cNvSpPr/>
            <p:nvPr/>
          </p:nvSpPr>
          <p:spPr bwMode="auto">
            <a:xfrm>
              <a:off x="6400801" y="5332413"/>
              <a:ext cx="125413" cy="103188"/>
            </a:xfrm>
            <a:custGeom>
              <a:avLst/>
              <a:gdLst>
                <a:gd name="T0" fmla="*/ 75 w 79"/>
                <a:gd name="T1" fmla="*/ 0 h 65"/>
                <a:gd name="T2" fmla="*/ 0 w 79"/>
                <a:gd name="T3" fmla="*/ 11 h 65"/>
                <a:gd name="T4" fmla="*/ 4 w 79"/>
                <a:gd name="T5" fmla="*/ 65 h 65"/>
                <a:gd name="T6" fmla="*/ 79 w 79"/>
                <a:gd name="T7" fmla="*/ 48 h 65"/>
                <a:gd name="T8" fmla="*/ 77 w 79"/>
                <a:gd name="T9" fmla="*/ 17 h 65"/>
                <a:gd name="T10" fmla="*/ 75 w 79"/>
                <a:gd name="T11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9" h="65">
                  <a:moveTo>
                    <a:pt x="75" y="0"/>
                  </a:moveTo>
                  <a:lnTo>
                    <a:pt x="0" y="11"/>
                  </a:lnTo>
                  <a:lnTo>
                    <a:pt x="4" y="65"/>
                  </a:lnTo>
                  <a:lnTo>
                    <a:pt x="79" y="48"/>
                  </a:lnTo>
                  <a:lnTo>
                    <a:pt x="77" y="17"/>
                  </a:lnTo>
                  <a:lnTo>
                    <a:pt x="75" y="0"/>
                  </a:lnTo>
                  <a:close/>
                </a:path>
              </a:pathLst>
            </a:custGeom>
            <a:solidFill>
              <a:srgbClr val="9149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6" name="任意多边形 115"/>
            <p:cNvSpPr/>
            <p:nvPr/>
          </p:nvSpPr>
          <p:spPr bwMode="auto">
            <a:xfrm>
              <a:off x="6400801" y="5332413"/>
              <a:ext cx="125413" cy="103188"/>
            </a:xfrm>
            <a:custGeom>
              <a:avLst/>
              <a:gdLst>
                <a:gd name="T0" fmla="*/ 75 w 79"/>
                <a:gd name="T1" fmla="*/ 0 h 65"/>
                <a:gd name="T2" fmla="*/ 0 w 79"/>
                <a:gd name="T3" fmla="*/ 11 h 65"/>
                <a:gd name="T4" fmla="*/ 4 w 79"/>
                <a:gd name="T5" fmla="*/ 65 h 65"/>
                <a:gd name="T6" fmla="*/ 79 w 79"/>
                <a:gd name="T7" fmla="*/ 48 h 65"/>
                <a:gd name="T8" fmla="*/ 77 w 79"/>
                <a:gd name="T9" fmla="*/ 17 h 65"/>
                <a:gd name="T10" fmla="*/ 75 w 79"/>
                <a:gd name="T11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9" h="65">
                  <a:moveTo>
                    <a:pt x="75" y="0"/>
                  </a:moveTo>
                  <a:lnTo>
                    <a:pt x="0" y="11"/>
                  </a:lnTo>
                  <a:lnTo>
                    <a:pt x="4" y="65"/>
                  </a:lnTo>
                  <a:lnTo>
                    <a:pt x="79" y="48"/>
                  </a:lnTo>
                  <a:lnTo>
                    <a:pt x="77" y="17"/>
                  </a:lnTo>
                  <a:lnTo>
                    <a:pt x="7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7" name="任意多边形 116"/>
            <p:cNvSpPr/>
            <p:nvPr/>
          </p:nvSpPr>
          <p:spPr bwMode="auto">
            <a:xfrm>
              <a:off x="5167313" y="3851275"/>
              <a:ext cx="1392238" cy="1508125"/>
            </a:xfrm>
            <a:custGeom>
              <a:avLst/>
              <a:gdLst>
                <a:gd name="T0" fmla="*/ 138 w 422"/>
                <a:gd name="T1" fmla="*/ 9 h 458"/>
                <a:gd name="T2" fmla="*/ 405 w 422"/>
                <a:gd name="T3" fmla="*/ 106 h 458"/>
                <a:gd name="T4" fmla="*/ 422 w 422"/>
                <a:gd name="T5" fmla="*/ 448 h 458"/>
                <a:gd name="T6" fmla="*/ 355 w 422"/>
                <a:gd name="T7" fmla="*/ 458 h 458"/>
                <a:gd name="T8" fmla="*/ 311 w 422"/>
                <a:gd name="T9" fmla="*/ 157 h 458"/>
                <a:gd name="T10" fmla="*/ 19 w 422"/>
                <a:gd name="T11" fmla="*/ 88 h 458"/>
                <a:gd name="T12" fmla="*/ 10 w 422"/>
                <a:gd name="T13" fmla="*/ 9 h 458"/>
                <a:gd name="T14" fmla="*/ 138 w 422"/>
                <a:gd name="T15" fmla="*/ 9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2" h="458">
                  <a:moveTo>
                    <a:pt x="138" y="9"/>
                  </a:moveTo>
                  <a:cubicBezTo>
                    <a:pt x="138" y="9"/>
                    <a:pt x="404" y="0"/>
                    <a:pt x="405" y="106"/>
                  </a:cubicBezTo>
                  <a:cubicBezTo>
                    <a:pt x="406" y="259"/>
                    <a:pt x="422" y="448"/>
                    <a:pt x="422" y="448"/>
                  </a:cubicBezTo>
                  <a:cubicBezTo>
                    <a:pt x="355" y="458"/>
                    <a:pt x="355" y="458"/>
                    <a:pt x="355" y="458"/>
                  </a:cubicBezTo>
                  <a:cubicBezTo>
                    <a:pt x="355" y="458"/>
                    <a:pt x="310" y="276"/>
                    <a:pt x="311" y="157"/>
                  </a:cubicBezTo>
                  <a:cubicBezTo>
                    <a:pt x="236" y="136"/>
                    <a:pt x="42" y="150"/>
                    <a:pt x="19" y="88"/>
                  </a:cubicBezTo>
                  <a:cubicBezTo>
                    <a:pt x="0" y="37"/>
                    <a:pt x="10" y="9"/>
                    <a:pt x="10" y="9"/>
                  </a:cubicBezTo>
                  <a:cubicBezTo>
                    <a:pt x="138" y="9"/>
                    <a:pt x="138" y="9"/>
                    <a:pt x="138" y="9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8" name="任意多边形 117"/>
            <p:cNvSpPr/>
            <p:nvPr/>
          </p:nvSpPr>
          <p:spPr bwMode="auto">
            <a:xfrm>
              <a:off x="5978526" y="3989388"/>
              <a:ext cx="366713" cy="493713"/>
            </a:xfrm>
            <a:custGeom>
              <a:avLst/>
              <a:gdLst>
                <a:gd name="T0" fmla="*/ 1 w 111"/>
                <a:gd name="T1" fmla="*/ 0 h 150"/>
                <a:gd name="T2" fmla="*/ 0 w 111"/>
                <a:gd name="T3" fmla="*/ 11 h 150"/>
                <a:gd name="T4" fmla="*/ 57 w 111"/>
                <a:gd name="T5" fmla="*/ 72 h 150"/>
                <a:gd name="T6" fmla="*/ 53 w 111"/>
                <a:gd name="T7" fmla="*/ 112 h 150"/>
                <a:gd name="T8" fmla="*/ 65 w 111"/>
                <a:gd name="T9" fmla="*/ 115 h 150"/>
                <a:gd name="T10" fmla="*/ 67 w 111"/>
                <a:gd name="T11" fmla="*/ 150 h 150"/>
                <a:gd name="T12" fmla="*/ 1 w 111"/>
                <a:gd name="T1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1" h="150">
                  <a:moveTo>
                    <a:pt x="1" y="0"/>
                  </a:moveTo>
                  <a:cubicBezTo>
                    <a:pt x="1" y="0"/>
                    <a:pt x="0" y="4"/>
                    <a:pt x="0" y="11"/>
                  </a:cubicBezTo>
                  <a:cubicBezTo>
                    <a:pt x="36" y="27"/>
                    <a:pt x="60" y="47"/>
                    <a:pt x="57" y="72"/>
                  </a:cubicBezTo>
                  <a:cubicBezTo>
                    <a:pt x="56" y="84"/>
                    <a:pt x="55" y="98"/>
                    <a:pt x="53" y="112"/>
                  </a:cubicBezTo>
                  <a:cubicBezTo>
                    <a:pt x="57" y="113"/>
                    <a:pt x="61" y="114"/>
                    <a:pt x="65" y="115"/>
                  </a:cubicBezTo>
                  <a:cubicBezTo>
                    <a:pt x="65" y="126"/>
                    <a:pt x="65" y="138"/>
                    <a:pt x="67" y="150"/>
                  </a:cubicBezTo>
                  <a:cubicBezTo>
                    <a:pt x="111" y="83"/>
                    <a:pt x="75" y="8"/>
                    <a:pt x="1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9" name="任意多边形 118"/>
            <p:cNvSpPr/>
            <p:nvPr/>
          </p:nvSpPr>
          <p:spPr bwMode="auto">
            <a:xfrm>
              <a:off x="6299201" y="5270500"/>
              <a:ext cx="284163" cy="144463"/>
            </a:xfrm>
            <a:custGeom>
              <a:avLst/>
              <a:gdLst>
                <a:gd name="T0" fmla="*/ 14 w 179"/>
                <a:gd name="T1" fmla="*/ 91 h 91"/>
                <a:gd name="T2" fmla="*/ 177 w 179"/>
                <a:gd name="T3" fmla="*/ 62 h 91"/>
                <a:gd name="T4" fmla="*/ 179 w 179"/>
                <a:gd name="T5" fmla="*/ 0 h 91"/>
                <a:gd name="T6" fmla="*/ 0 w 179"/>
                <a:gd name="T7" fmla="*/ 31 h 91"/>
                <a:gd name="T8" fmla="*/ 14 w 179"/>
                <a:gd name="T9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9" h="91">
                  <a:moveTo>
                    <a:pt x="14" y="91"/>
                  </a:moveTo>
                  <a:lnTo>
                    <a:pt x="177" y="62"/>
                  </a:lnTo>
                  <a:lnTo>
                    <a:pt x="179" y="0"/>
                  </a:lnTo>
                  <a:lnTo>
                    <a:pt x="0" y="31"/>
                  </a:lnTo>
                  <a:lnTo>
                    <a:pt x="14" y="91"/>
                  </a:ln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0" name="任意多边形 119"/>
            <p:cNvSpPr/>
            <p:nvPr/>
          </p:nvSpPr>
          <p:spPr bwMode="auto">
            <a:xfrm>
              <a:off x="6556376" y="5484813"/>
              <a:ext cx="61913" cy="36513"/>
            </a:xfrm>
            <a:custGeom>
              <a:avLst/>
              <a:gdLst>
                <a:gd name="T0" fmla="*/ 11 w 19"/>
                <a:gd name="T1" fmla="*/ 11 h 11"/>
                <a:gd name="T2" fmla="*/ 1 w 19"/>
                <a:gd name="T3" fmla="*/ 11 h 11"/>
                <a:gd name="T4" fmla="*/ 0 w 19"/>
                <a:gd name="T5" fmla="*/ 10 h 11"/>
                <a:gd name="T6" fmla="*/ 1 w 19"/>
                <a:gd name="T7" fmla="*/ 9 h 11"/>
                <a:gd name="T8" fmla="*/ 16 w 19"/>
                <a:gd name="T9" fmla="*/ 1 h 11"/>
                <a:gd name="T10" fmla="*/ 18 w 19"/>
                <a:gd name="T11" fmla="*/ 3 h 11"/>
                <a:gd name="T12" fmla="*/ 18 w 19"/>
                <a:gd name="T13" fmla="*/ 8 h 11"/>
                <a:gd name="T14" fmla="*/ 11 w 19"/>
                <a:gd name="T15" fmla="*/ 11 h 11"/>
                <a:gd name="T16" fmla="*/ 3 w 19"/>
                <a:gd name="T17" fmla="*/ 9 h 11"/>
                <a:gd name="T18" fmla="*/ 16 w 19"/>
                <a:gd name="T19" fmla="*/ 7 h 11"/>
                <a:gd name="T20" fmla="*/ 17 w 19"/>
                <a:gd name="T21" fmla="*/ 4 h 11"/>
                <a:gd name="T22" fmla="*/ 15 w 19"/>
                <a:gd name="T23" fmla="*/ 2 h 11"/>
                <a:gd name="T24" fmla="*/ 3 w 19"/>
                <a:gd name="T25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11">
                  <a:moveTo>
                    <a:pt x="11" y="11"/>
                  </a:moveTo>
                  <a:cubicBezTo>
                    <a:pt x="8" y="11"/>
                    <a:pt x="4" y="11"/>
                    <a:pt x="1" y="11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8"/>
                    <a:pt x="11" y="0"/>
                    <a:pt x="16" y="1"/>
                  </a:cubicBezTo>
                  <a:cubicBezTo>
                    <a:pt x="17" y="1"/>
                    <a:pt x="18" y="2"/>
                    <a:pt x="18" y="3"/>
                  </a:cubicBezTo>
                  <a:cubicBezTo>
                    <a:pt x="19" y="5"/>
                    <a:pt x="19" y="6"/>
                    <a:pt x="18" y="8"/>
                  </a:cubicBezTo>
                  <a:cubicBezTo>
                    <a:pt x="16" y="9"/>
                    <a:pt x="14" y="10"/>
                    <a:pt x="11" y="11"/>
                  </a:cubicBezTo>
                  <a:close/>
                  <a:moveTo>
                    <a:pt x="3" y="9"/>
                  </a:moveTo>
                  <a:cubicBezTo>
                    <a:pt x="10" y="9"/>
                    <a:pt x="15" y="9"/>
                    <a:pt x="16" y="7"/>
                  </a:cubicBezTo>
                  <a:cubicBezTo>
                    <a:pt x="17" y="6"/>
                    <a:pt x="17" y="5"/>
                    <a:pt x="17" y="4"/>
                  </a:cubicBezTo>
                  <a:cubicBezTo>
                    <a:pt x="16" y="3"/>
                    <a:pt x="16" y="3"/>
                    <a:pt x="15" y="2"/>
                  </a:cubicBezTo>
                  <a:cubicBezTo>
                    <a:pt x="13" y="2"/>
                    <a:pt x="7" y="6"/>
                    <a:pt x="3" y="9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1" name="任意多边形 120"/>
            <p:cNvSpPr/>
            <p:nvPr/>
          </p:nvSpPr>
          <p:spPr bwMode="auto">
            <a:xfrm>
              <a:off x="6550026" y="5461000"/>
              <a:ext cx="39688" cy="60325"/>
            </a:xfrm>
            <a:custGeom>
              <a:avLst/>
              <a:gdLst>
                <a:gd name="T0" fmla="*/ 3 w 12"/>
                <a:gd name="T1" fmla="*/ 18 h 18"/>
                <a:gd name="T2" fmla="*/ 3 w 12"/>
                <a:gd name="T3" fmla="*/ 17 h 18"/>
                <a:gd name="T4" fmla="*/ 2 w 12"/>
                <a:gd name="T5" fmla="*/ 17 h 18"/>
                <a:gd name="T6" fmla="*/ 3 w 12"/>
                <a:gd name="T7" fmla="*/ 2 h 18"/>
                <a:gd name="T8" fmla="*/ 7 w 12"/>
                <a:gd name="T9" fmla="*/ 0 h 18"/>
                <a:gd name="T10" fmla="*/ 10 w 12"/>
                <a:gd name="T11" fmla="*/ 2 h 18"/>
                <a:gd name="T12" fmla="*/ 4 w 12"/>
                <a:gd name="T13" fmla="*/ 17 h 18"/>
                <a:gd name="T14" fmla="*/ 3 w 12"/>
                <a:gd name="T15" fmla="*/ 18 h 18"/>
                <a:gd name="T16" fmla="*/ 6 w 12"/>
                <a:gd name="T17" fmla="*/ 2 h 18"/>
                <a:gd name="T18" fmla="*/ 5 w 12"/>
                <a:gd name="T19" fmla="*/ 3 h 18"/>
                <a:gd name="T20" fmla="*/ 4 w 12"/>
                <a:gd name="T21" fmla="*/ 15 h 18"/>
                <a:gd name="T22" fmla="*/ 9 w 12"/>
                <a:gd name="T23" fmla="*/ 3 h 18"/>
                <a:gd name="T24" fmla="*/ 7 w 12"/>
                <a:gd name="T25" fmla="*/ 2 h 18"/>
                <a:gd name="T26" fmla="*/ 6 w 12"/>
                <a:gd name="T27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18">
                  <a:moveTo>
                    <a:pt x="3" y="18"/>
                  </a:moveTo>
                  <a:cubicBezTo>
                    <a:pt x="3" y="17"/>
                    <a:pt x="3" y="17"/>
                    <a:pt x="3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2" y="16"/>
                    <a:pt x="0" y="6"/>
                    <a:pt x="3" y="2"/>
                  </a:cubicBezTo>
                  <a:cubicBezTo>
                    <a:pt x="4" y="1"/>
                    <a:pt x="5" y="0"/>
                    <a:pt x="7" y="0"/>
                  </a:cubicBezTo>
                  <a:cubicBezTo>
                    <a:pt x="9" y="0"/>
                    <a:pt x="10" y="1"/>
                    <a:pt x="10" y="2"/>
                  </a:cubicBezTo>
                  <a:cubicBezTo>
                    <a:pt x="12" y="6"/>
                    <a:pt x="7" y="15"/>
                    <a:pt x="4" y="17"/>
                  </a:cubicBezTo>
                  <a:lnTo>
                    <a:pt x="3" y="18"/>
                  </a:lnTo>
                  <a:close/>
                  <a:moveTo>
                    <a:pt x="6" y="2"/>
                  </a:moveTo>
                  <a:cubicBezTo>
                    <a:pt x="6" y="2"/>
                    <a:pt x="5" y="2"/>
                    <a:pt x="5" y="3"/>
                  </a:cubicBezTo>
                  <a:cubicBezTo>
                    <a:pt x="3" y="5"/>
                    <a:pt x="3" y="11"/>
                    <a:pt x="4" y="15"/>
                  </a:cubicBezTo>
                  <a:cubicBezTo>
                    <a:pt x="7" y="12"/>
                    <a:pt x="10" y="6"/>
                    <a:pt x="9" y="3"/>
                  </a:cubicBezTo>
                  <a:cubicBezTo>
                    <a:pt x="8" y="3"/>
                    <a:pt x="8" y="2"/>
                    <a:pt x="7" y="2"/>
                  </a:cubicBezTo>
                  <a:lnTo>
                    <a:pt x="6" y="2"/>
                  </a:ln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2" name="任意多边形 121"/>
            <p:cNvSpPr/>
            <p:nvPr/>
          </p:nvSpPr>
          <p:spPr bwMode="auto">
            <a:xfrm>
              <a:off x="5913438" y="5310188"/>
              <a:ext cx="138113" cy="303213"/>
            </a:xfrm>
            <a:custGeom>
              <a:avLst/>
              <a:gdLst>
                <a:gd name="T0" fmla="*/ 0 w 87"/>
                <a:gd name="T1" fmla="*/ 191 h 191"/>
                <a:gd name="T2" fmla="*/ 75 w 87"/>
                <a:gd name="T3" fmla="*/ 181 h 191"/>
                <a:gd name="T4" fmla="*/ 87 w 87"/>
                <a:gd name="T5" fmla="*/ 0 h 191"/>
                <a:gd name="T6" fmla="*/ 12 w 87"/>
                <a:gd name="T7" fmla="*/ 10 h 191"/>
                <a:gd name="T8" fmla="*/ 0 w 87"/>
                <a:gd name="T9" fmla="*/ 191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91">
                  <a:moveTo>
                    <a:pt x="0" y="191"/>
                  </a:moveTo>
                  <a:lnTo>
                    <a:pt x="75" y="181"/>
                  </a:lnTo>
                  <a:lnTo>
                    <a:pt x="87" y="0"/>
                  </a:lnTo>
                  <a:lnTo>
                    <a:pt x="12" y="10"/>
                  </a:lnTo>
                  <a:lnTo>
                    <a:pt x="0" y="191"/>
                  </a:lnTo>
                  <a:close/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3" name="任意多边形 122"/>
            <p:cNvSpPr/>
            <p:nvPr/>
          </p:nvSpPr>
          <p:spPr bwMode="auto">
            <a:xfrm>
              <a:off x="5913438" y="5310188"/>
              <a:ext cx="138113" cy="303213"/>
            </a:xfrm>
            <a:custGeom>
              <a:avLst/>
              <a:gdLst>
                <a:gd name="T0" fmla="*/ 0 w 87"/>
                <a:gd name="T1" fmla="*/ 191 h 191"/>
                <a:gd name="T2" fmla="*/ 75 w 87"/>
                <a:gd name="T3" fmla="*/ 181 h 191"/>
                <a:gd name="T4" fmla="*/ 87 w 87"/>
                <a:gd name="T5" fmla="*/ 0 h 191"/>
                <a:gd name="T6" fmla="*/ 12 w 87"/>
                <a:gd name="T7" fmla="*/ 10 h 191"/>
                <a:gd name="T8" fmla="*/ 0 w 87"/>
                <a:gd name="T9" fmla="*/ 191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91">
                  <a:moveTo>
                    <a:pt x="0" y="191"/>
                  </a:moveTo>
                  <a:lnTo>
                    <a:pt x="75" y="181"/>
                  </a:lnTo>
                  <a:lnTo>
                    <a:pt x="87" y="0"/>
                  </a:lnTo>
                  <a:lnTo>
                    <a:pt x="12" y="10"/>
                  </a:lnTo>
                  <a:lnTo>
                    <a:pt x="0" y="19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4" name="任意多边形 123"/>
            <p:cNvSpPr/>
            <p:nvPr/>
          </p:nvSpPr>
          <p:spPr bwMode="auto">
            <a:xfrm>
              <a:off x="5876926" y="5576888"/>
              <a:ext cx="361950" cy="144463"/>
            </a:xfrm>
            <a:custGeom>
              <a:avLst/>
              <a:gdLst>
                <a:gd name="T0" fmla="*/ 48 w 110"/>
                <a:gd name="T1" fmla="*/ 1 h 44"/>
                <a:gd name="T2" fmla="*/ 7 w 110"/>
                <a:gd name="T3" fmla="*/ 0 h 44"/>
                <a:gd name="T4" fmla="*/ 4 w 110"/>
                <a:gd name="T5" fmla="*/ 2 h 44"/>
                <a:gd name="T6" fmla="*/ 1 w 110"/>
                <a:gd name="T7" fmla="*/ 35 h 44"/>
                <a:gd name="T8" fmla="*/ 7 w 110"/>
                <a:gd name="T9" fmla="*/ 42 h 44"/>
                <a:gd name="T10" fmla="*/ 47 w 110"/>
                <a:gd name="T11" fmla="*/ 42 h 44"/>
                <a:gd name="T12" fmla="*/ 95 w 110"/>
                <a:gd name="T13" fmla="*/ 42 h 44"/>
                <a:gd name="T14" fmla="*/ 102 w 110"/>
                <a:gd name="T15" fmla="*/ 24 h 44"/>
                <a:gd name="T16" fmla="*/ 54 w 110"/>
                <a:gd name="T17" fmla="*/ 3 h 44"/>
                <a:gd name="T18" fmla="*/ 48 w 110"/>
                <a:gd name="T19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" h="44">
                  <a:moveTo>
                    <a:pt x="48" y="1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4" y="1"/>
                    <a:pt x="4" y="2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0" y="38"/>
                    <a:pt x="4" y="42"/>
                    <a:pt x="7" y="42"/>
                  </a:cubicBezTo>
                  <a:cubicBezTo>
                    <a:pt x="22" y="42"/>
                    <a:pt x="28" y="41"/>
                    <a:pt x="47" y="42"/>
                  </a:cubicBezTo>
                  <a:cubicBezTo>
                    <a:pt x="58" y="42"/>
                    <a:pt x="80" y="44"/>
                    <a:pt x="95" y="42"/>
                  </a:cubicBezTo>
                  <a:cubicBezTo>
                    <a:pt x="110" y="40"/>
                    <a:pt x="108" y="25"/>
                    <a:pt x="102" y="24"/>
                  </a:cubicBezTo>
                  <a:cubicBezTo>
                    <a:pt x="86" y="23"/>
                    <a:pt x="65" y="12"/>
                    <a:pt x="54" y="3"/>
                  </a:cubicBezTo>
                  <a:cubicBezTo>
                    <a:pt x="53" y="2"/>
                    <a:pt x="50" y="1"/>
                    <a:pt x="48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5" name="任意多边形 124"/>
            <p:cNvSpPr/>
            <p:nvPr/>
          </p:nvSpPr>
          <p:spPr bwMode="auto">
            <a:xfrm>
              <a:off x="6045201" y="5567363"/>
              <a:ext cx="61913" cy="36513"/>
            </a:xfrm>
            <a:custGeom>
              <a:avLst/>
              <a:gdLst>
                <a:gd name="T0" fmla="*/ 10 w 19"/>
                <a:gd name="T1" fmla="*/ 11 h 11"/>
                <a:gd name="T2" fmla="*/ 0 w 19"/>
                <a:gd name="T3" fmla="*/ 9 h 11"/>
                <a:gd name="T4" fmla="*/ 0 w 19"/>
                <a:gd name="T5" fmla="*/ 9 h 11"/>
                <a:gd name="T6" fmla="*/ 0 w 19"/>
                <a:gd name="T7" fmla="*/ 8 h 11"/>
                <a:gd name="T8" fmla="*/ 16 w 19"/>
                <a:gd name="T9" fmla="*/ 2 h 11"/>
                <a:gd name="T10" fmla="*/ 18 w 19"/>
                <a:gd name="T11" fmla="*/ 4 h 11"/>
                <a:gd name="T12" fmla="*/ 17 w 19"/>
                <a:gd name="T13" fmla="*/ 9 h 11"/>
                <a:gd name="T14" fmla="*/ 10 w 19"/>
                <a:gd name="T15" fmla="*/ 11 h 11"/>
                <a:gd name="T16" fmla="*/ 3 w 19"/>
                <a:gd name="T17" fmla="*/ 8 h 11"/>
                <a:gd name="T18" fmla="*/ 16 w 19"/>
                <a:gd name="T19" fmla="*/ 8 h 11"/>
                <a:gd name="T20" fmla="*/ 17 w 19"/>
                <a:gd name="T21" fmla="*/ 5 h 11"/>
                <a:gd name="T22" fmla="*/ 16 w 19"/>
                <a:gd name="T23" fmla="*/ 4 h 11"/>
                <a:gd name="T24" fmla="*/ 3 w 19"/>
                <a:gd name="T25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11">
                  <a:moveTo>
                    <a:pt x="10" y="11"/>
                  </a:moveTo>
                  <a:cubicBezTo>
                    <a:pt x="7" y="11"/>
                    <a:pt x="3" y="10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7"/>
                    <a:pt x="12" y="0"/>
                    <a:pt x="16" y="2"/>
                  </a:cubicBezTo>
                  <a:cubicBezTo>
                    <a:pt x="17" y="2"/>
                    <a:pt x="18" y="3"/>
                    <a:pt x="18" y="4"/>
                  </a:cubicBezTo>
                  <a:cubicBezTo>
                    <a:pt x="19" y="6"/>
                    <a:pt x="18" y="8"/>
                    <a:pt x="17" y="9"/>
                  </a:cubicBezTo>
                  <a:cubicBezTo>
                    <a:pt x="16" y="11"/>
                    <a:pt x="13" y="11"/>
                    <a:pt x="10" y="11"/>
                  </a:cubicBezTo>
                  <a:close/>
                  <a:moveTo>
                    <a:pt x="3" y="8"/>
                  </a:moveTo>
                  <a:cubicBezTo>
                    <a:pt x="9" y="10"/>
                    <a:pt x="14" y="10"/>
                    <a:pt x="16" y="8"/>
                  </a:cubicBezTo>
                  <a:cubicBezTo>
                    <a:pt x="17" y="7"/>
                    <a:pt x="17" y="6"/>
                    <a:pt x="17" y="5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3" y="3"/>
                    <a:pt x="7" y="5"/>
                    <a:pt x="3" y="8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6" name="任意多边形 125"/>
            <p:cNvSpPr/>
            <p:nvPr/>
          </p:nvSpPr>
          <p:spPr bwMode="auto">
            <a:xfrm>
              <a:off x="6042026" y="5543550"/>
              <a:ext cx="36513" cy="53975"/>
            </a:xfrm>
            <a:custGeom>
              <a:avLst/>
              <a:gdLst>
                <a:gd name="T0" fmla="*/ 1 w 11"/>
                <a:gd name="T1" fmla="*/ 16 h 16"/>
                <a:gd name="T2" fmla="*/ 1 w 11"/>
                <a:gd name="T3" fmla="*/ 16 h 16"/>
                <a:gd name="T4" fmla="*/ 1 w 11"/>
                <a:gd name="T5" fmla="*/ 15 h 16"/>
                <a:gd name="T6" fmla="*/ 4 w 11"/>
                <a:gd name="T7" fmla="*/ 1 h 16"/>
                <a:gd name="T8" fmla="*/ 8 w 11"/>
                <a:gd name="T9" fmla="*/ 0 h 16"/>
                <a:gd name="T10" fmla="*/ 11 w 11"/>
                <a:gd name="T11" fmla="*/ 2 h 16"/>
                <a:gd name="T12" fmla="*/ 2 w 11"/>
                <a:gd name="T13" fmla="*/ 16 h 16"/>
                <a:gd name="T14" fmla="*/ 1 w 11"/>
                <a:gd name="T15" fmla="*/ 16 h 16"/>
                <a:gd name="T16" fmla="*/ 7 w 11"/>
                <a:gd name="T17" fmla="*/ 1 h 16"/>
                <a:gd name="T18" fmla="*/ 5 w 11"/>
                <a:gd name="T19" fmla="*/ 2 h 16"/>
                <a:gd name="T20" fmla="*/ 2 w 11"/>
                <a:gd name="T21" fmla="*/ 14 h 16"/>
                <a:gd name="T22" fmla="*/ 9 w 11"/>
                <a:gd name="T23" fmla="*/ 3 h 16"/>
                <a:gd name="T24" fmla="*/ 7 w 11"/>
                <a:gd name="T25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16">
                  <a:moveTo>
                    <a:pt x="1" y="16"/>
                  </a:moveTo>
                  <a:cubicBezTo>
                    <a:pt x="1" y="16"/>
                    <a:pt x="1" y="16"/>
                    <a:pt x="1" y="16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5"/>
                    <a:pt x="0" y="4"/>
                    <a:pt x="4" y="1"/>
                  </a:cubicBezTo>
                  <a:cubicBezTo>
                    <a:pt x="5" y="0"/>
                    <a:pt x="6" y="0"/>
                    <a:pt x="8" y="0"/>
                  </a:cubicBezTo>
                  <a:cubicBezTo>
                    <a:pt x="9" y="0"/>
                    <a:pt x="10" y="1"/>
                    <a:pt x="11" y="2"/>
                  </a:cubicBezTo>
                  <a:cubicBezTo>
                    <a:pt x="11" y="7"/>
                    <a:pt x="6" y="14"/>
                    <a:pt x="2" y="16"/>
                  </a:cubicBezTo>
                  <a:lnTo>
                    <a:pt x="1" y="16"/>
                  </a:lnTo>
                  <a:close/>
                  <a:moveTo>
                    <a:pt x="7" y="1"/>
                  </a:moveTo>
                  <a:cubicBezTo>
                    <a:pt x="6" y="1"/>
                    <a:pt x="6" y="2"/>
                    <a:pt x="5" y="2"/>
                  </a:cubicBezTo>
                  <a:cubicBezTo>
                    <a:pt x="3" y="4"/>
                    <a:pt x="2" y="10"/>
                    <a:pt x="2" y="14"/>
                  </a:cubicBezTo>
                  <a:cubicBezTo>
                    <a:pt x="6" y="11"/>
                    <a:pt x="9" y="5"/>
                    <a:pt x="9" y="3"/>
                  </a:cubicBezTo>
                  <a:cubicBezTo>
                    <a:pt x="9" y="2"/>
                    <a:pt x="9" y="2"/>
                    <a:pt x="7" y="1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" name="任意多边形 126"/>
            <p:cNvSpPr/>
            <p:nvPr/>
          </p:nvSpPr>
          <p:spPr bwMode="auto">
            <a:xfrm>
              <a:off x="5919788" y="5432425"/>
              <a:ext cx="3175" cy="52388"/>
            </a:xfrm>
            <a:custGeom>
              <a:avLst/>
              <a:gdLst>
                <a:gd name="T0" fmla="*/ 2 w 2"/>
                <a:gd name="T1" fmla="*/ 0 h 33"/>
                <a:gd name="T2" fmla="*/ 2 w 2"/>
                <a:gd name="T3" fmla="*/ 0 h 33"/>
                <a:gd name="T4" fmla="*/ 0 w 2"/>
                <a:gd name="T5" fmla="*/ 33 h 33"/>
                <a:gd name="T6" fmla="*/ 0 w 2"/>
                <a:gd name="T7" fmla="*/ 33 h 33"/>
                <a:gd name="T8" fmla="*/ 2 w 2"/>
                <a:gd name="T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3">
                  <a:moveTo>
                    <a:pt x="2" y="0"/>
                  </a:moveTo>
                  <a:lnTo>
                    <a:pt x="2" y="0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" name="任意多边形 127"/>
            <p:cNvSpPr/>
            <p:nvPr/>
          </p:nvSpPr>
          <p:spPr bwMode="auto">
            <a:xfrm>
              <a:off x="5919788" y="5432425"/>
              <a:ext cx="3175" cy="52388"/>
            </a:xfrm>
            <a:custGeom>
              <a:avLst/>
              <a:gdLst>
                <a:gd name="T0" fmla="*/ 2 w 2"/>
                <a:gd name="T1" fmla="*/ 0 h 33"/>
                <a:gd name="T2" fmla="*/ 2 w 2"/>
                <a:gd name="T3" fmla="*/ 0 h 33"/>
                <a:gd name="T4" fmla="*/ 0 w 2"/>
                <a:gd name="T5" fmla="*/ 33 h 33"/>
                <a:gd name="T6" fmla="*/ 0 w 2"/>
                <a:gd name="T7" fmla="*/ 33 h 33"/>
                <a:gd name="T8" fmla="*/ 2 w 2"/>
                <a:gd name="T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3">
                  <a:moveTo>
                    <a:pt x="2" y="0"/>
                  </a:moveTo>
                  <a:lnTo>
                    <a:pt x="2" y="0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9" name="任意多边形 128"/>
            <p:cNvSpPr/>
            <p:nvPr/>
          </p:nvSpPr>
          <p:spPr bwMode="auto">
            <a:xfrm>
              <a:off x="5919788" y="5429250"/>
              <a:ext cx="125413" cy="55563"/>
            </a:xfrm>
            <a:custGeom>
              <a:avLst/>
              <a:gdLst>
                <a:gd name="T0" fmla="*/ 79 w 79"/>
                <a:gd name="T1" fmla="*/ 0 h 35"/>
                <a:gd name="T2" fmla="*/ 2 w 79"/>
                <a:gd name="T3" fmla="*/ 2 h 35"/>
                <a:gd name="T4" fmla="*/ 0 w 79"/>
                <a:gd name="T5" fmla="*/ 35 h 35"/>
                <a:gd name="T6" fmla="*/ 77 w 79"/>
                <a:gd name="T7" fmla="*/ 29 h 35"/>
                <a:gd name="T8" fmla="*/ 79 w 79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35">
                  <a:moveTo>
                    <a:pt x="79" y="0"/>
                  </a:moveTo>
                  <a:lnTo>
                    <a:pt x="2" y="2"/>
                  </a:lnTo>
                  <a:lnTo>
                    <a:pt x="0" y="35"/>
                  </a:lnTo>
                  <a:lnTo>
                    <a:pt x="77" y="29"/>
                  </a:lnTo>
                  <a:lnTo>
                    <a:pt x="79" y="0"/>
                  </a:lnTo>
                  <a:close/>
                </a:path>
              </a:pathLst>
            </a:custGeom>
            <a:solidFill>
              <a:srgbClr val="9149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0" name="任意多边形 129"/>
            <p:cNvSpPr/>
            <p:nvPr/>
          </p:nvSpPr>
          <p:spPr bwMode="auto">
            <a:xfrm>
              <a:off x="5919788" y="5429250"/>
              <a:ext cx="125413" cy="55563"/>
            </a:xfrm>
            <a:custGeom>
              <a:avLst/>
              <a:gdLst>
                <a:gd name="T0" fmla="*/ 79 w 79"/>
                <a:gd name="T1" fmla="*/ 0 h 35"/>
                <a:gd name="T2" fmla="*/ 2 w 79"/>
                <a:gd name="T3" fmla="*/ 2 h 35"/>
                <a:gd name="T4" fmla="*/ 0 w 79"/>
                <a:gd name="T5" fmla="*/ 35 h 35"/>
                <a:gd name="T6" fmla="*/ 77 w 79"/>
                <a:gd name="T7" fmla="*/ 29 h 35"/>
                <a:gd name="T8" fmla="*/ 79 w 79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35">
                  <a:moveTo>
                    <a:pt x="79" y="0"/>
                  </a:moveTo>
                  <a:lnTo>
                    <a:pt x="2" y="2"/>
                  </a:lnTo>
                  <a:lnTo>
                    <a:pt x="0" y="35"/>
                  </a:lnTo>
                  <a:lnTo>
                    <a:pt x="77" y="29"/>
                  </a:lnTo>
                  <a:lnTo>
                    <a:pt x="7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1" name="任意多边形 130"/>
            <p:cNvSpPr/>
            <p:nvPr/>
          </p:nvSpPr>
          <p:spPr bwMode="auto">
            <a:xfrm>
              <a:off x="4953001" y="3879850"/>
              <a:ext cx="1247775" cy="1555750"/>
            </a:xfrm>
            <a:custGeom>
              <a:avLst/>
              <a:gdLst>
                <a:gd name="T0" fmla="*/ 113 w 378"/>
                <a:gd name="T1" fmla="*/ 0 h 472"/>
                <a:gd name="T2" fmla="*/ 368 w 378"/>
                <a:gd name="T3" fmla="*/ 105 h 472"/>
                <a:gd name="T4" fmla="*/ 348 w 378"/>
                <a:gd name="T5" fmla="*/ 469 h 472"/>
                <a:gd name="T6" fmla="*/ 280 w 378"/>
                <a:gd name="T7" fmla="*/ 472 h 472"/>
                <a:gd name="T8" fmla="*/ 266 w 378"/>
                <a:gd name="T9" fmla="*/ 129 h 472"/>
                <a:gd name="T10" fmla="*/ 14 w 378"/>
                <a:gd name="T11" fmla="*/ 93 h 472"/>
                <a:gd name="T12" fmla="*/ 5 w 378"/>
                <a:gd name="T13" fmla="*/ 0 h 472"/>
                <a:gd name="T14" fmla="*/ 113 w 378"/>
                <a:gd name="T15" fmla="*/ 0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8" h="472">
                  <a:moveTo>
                    <a:pt x="113" y="0"/>
                  </a:moveTo>
                  <a:cubicBezTo>
                    <a:pt x="113" y="0"/>
                    <a:pt x="378" y="25"/>
                    <a:pt x="368" y="105"/>
                  </a:cubicBezTo>
                  <a:cubicBezTo>
                    <a:pt x="354" y="220"/>
                    <a:pt x="348" y="469"/>
                    <a:pt x="348" y="469"/>
                  </a:cubicBezTo>
                  <a:cubicBezTo>
                    <a:pt x="280" y="472"/>
                    <a:pt x="280" y="472"/>
                    <a:pt x="280" y="472"/>
                  </a:cubicBezTo>
                  <a:cubicBezTo>
                    <a:pt x="280" y="472"/>
                    <a:pt x="251" y="247"/>
                    <a:pt x="266" y="129"/>
                  </a:cubicBezTo>
                  <a:cubicBezTo>
                    <a:pt x="197" y="129"/>
                    <a:pt x="29" y="134"/>
                    <a:pt x="14" y="93"/>
                  </a:cubicBezTo>
                  <a:cubicBezTo>
                    <a:pt x="0" y="56"/>
                    <a:pt x="5" y="0"/>
                    <a:pt x="5" y="0"/>
                  </a:cubicBezTo>
                  <a:cubicBezTo>
                    <a:pt x="113" y="0"/>
                    <a:pt x="113" y="0"/>
                    <a:pt x="113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2" name="任意多边形 131"/>
            <p:cNvSpPr/>
            <p:nvPr/>
          </p:nvSpPr>
          <p:spPr bwMode="auto">
            <a:xfrm>
              <a:off x="5834063" y="5316538"/>
              <a:ext cx="296863" cy="131763"/>
            </a:xfrm>
            <a:custGeom>
              <a:avLst/>
              <a:gdLst>
                <a:gd name="T0" fmla="*/ 10 w 187"/>
                <a:gd name="T1" fmla="*/ 83 h 83"/>
                <a:gd name="T2" fmla="*/ 181 w 187"/>
                <a:gd name="T3" fmla="*/ 75 h 83"/>
                <a:gd name="T4" fmla="*/ 187 w 187"/>
                <a:gd name="T5" fmla="*/ 0 h 83"/>
                <a:gd name="T6" fmla="*/ 0 w 187"/>
                <a:gd name="T7" fmla="*/ 13 h 83"/>
                <a:gd name="T8" fmla="*/ 10 w 187"/>
                <a:gd name="T9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7" h="83">
                  <a:moveTo>
                    <a:pt x="10" y="83"/>
                  </a:moveTo>
                  <a:lnTo>
                    <a:pt x="181" y="75"/>
                  </a:lnTo>
                  <a:lnTo>
                    <a:pt x="187" y="0"/>
                  </a:lnTo>
                  <a:lnTo>
                    <a:pt x="0" y="13"/>
                  </a:lnTo>
                  <a:lnTo>
                    <a:pt x="10" y="83"/>
                  </a:ln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3" name="任意多边形 132"/>
            <p:cNvSpPr/>
            <p:nvPr/>
          </p:nvSpPr>
          <p:spPr bwMode="auto">
            <a:xfrm>
              <a:off x="5519738" y="3092450"/>
              <a:ext cx="676275" cy="768350"/>
            </a:xfrm>
            <a:custGeom>
              <a:avLst/>
              <a:gdLst>
                <a:gd name="T0" fmla="*/ 55 w 205"/>
                <a:gd name="T1" fmla="*/ 0 h 233"/>
                <a:gd name="T2" fmla="*/ 58 w 205"/>
                <a:gd name="T3" fmla="*/ 19 h 233"/>
                <a:gd name="T4" fmla="*/ 60 w 205"/>
                <a:gd name="T5" fmla="*/ 37 h 233"/>
                <a:gd name="T6" fmla="*/ 67 w 205"/>
                <a:gd name="T7" fmla="*/ 74 h 233"/>
                <a:gd name="T8" fmla="*/ 75 w 205"/>
                <a:gd name="T9" fmla="*/ 110 h 233"/>
                <a:gd name="T10" fmla="*/ 87 w 205"/>
                <a:gd name="T11" fmla="*/ 141 h 233"/>
                <a:gd name="T12" fmla="*/ 94 w 205"/>
                <a:gd name="T13" fmla="*/ 152 h 233"/>
                <a:gd name="T14" fmla="*/ 96 w 205"/>
                <a:gd name="T15" fmla="*/ 154 h 233"/>
                <a:gd name="T16" fmla="*/ 99 w 205"/>
                <a:gd name="T17" fmla="*/ 157 h 233"/>
                <a:gd name="T18" fmla="*/ 105 w 205"/>
                <a:gd name="T19" fmla="*/ 161 h 233"/>
                <a:gd name="T20" fmla="*/ 135 w 205"/>
                <a:gd name="T21" fmla="*/ 178 h 233"/>
                <a:gd name="T22" fmla="*/ 205 w 205"/>
                <a:gd name="T23" fmla="*/ 205 h 233"/>
                <a:gd name="T24" fmla="*/ 201 w 205"/>
                <a:gd name="T25" fmla="*/ 233 h 233"/>
                <a:gd name="T26" fmla="*/ 160 w 205"/>
                <a:gd name="T27" fmla="*/ 228 h 233"/>
                <a:gd name="T28" fmla="*/ 140 w 205"/>
                <a:gd name="T29" fmla="*/ 225 h 233"/>
                <a:gd name="T30" fmla="*/ 120 w 205"/>
                <a:gd name="T31" fmla="*/ 219 h 233"/>
                <a:gd name="T32" fmla="*/ 79 w 205"/>
                <a:gd name="T33" fmla="*/ 203 h 233"/>
                <a:gd name="T34" fmla="*/ 69 w 205"/>
                <a:gd name="T35" fmla="*/ 196 h 233"/>
                <a:gd name="T36" fmla="*/ 64 w 205"/>
                <a:gd name="T37" fmla="*/ 193 h 233"/>
                <a:gd name="T38" fmla="*/ 58 w 205"/>
                <a:gd name="T39" fmla="*/ 188 h 233"/>
                <a:gd name="T40" fmla="*/ 42 w 205"/>
                <a:gd name="T41" fmla="*/ 167 h 233"/>
                <a:gd name="T42" fmla="*/ 24 w 205"/>
                <a:gd name="T43" fmla="*/ 127 h 233"/>
                <a:gd name="T44" fmla="*/ 12 w 205"/>
                <a:gd name="T45" fmla="*/ 86 h 233"/>
                <a:gd name="T46" fmla="*/ 4 w 205"/>
                <a:gd name="T47" fmla="*/ 46 h 233"/>
                <a:gd name="T48" fmla="*/ 2 w 205"/>
                <a:gd name="T49" fmla="*/ 26 h 233"/>
                <a:gd name="T50" fmla="*/ 0 w 205"/>
                <a:gd name="T51" fmla="*/ 5 h 233"/>
                <a:gd name="T52" fmla="*/ 55 w 205"/>
                <a:gd name="T53" fmla="*/ 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5" h="233">
                  <a:moveTo>
                    <a:pt x="55" y="0"/>
                  </a:moveTo>
                  <a:cubicBezTo>
                    <a:pt x="58" y="19"/>
                    <a:pt x="58" y="19"/>
                    <a:pt x="58" y="19"/>
                  </a:cubicBezTo>
                  <a:cubicBezTo>
                    <a:pt x="58" y="25"/>
                    <a:pt x="59" y="31"/>
                    <a:pt x="60" y="37"/>
                  </a:cubicBezTo>
                  <a:cubicBezTo>
                    <a:pt x="62" y="50"/>
                    <a:pt x="64" y="62"/>
                    <a:pt x="67" y="74"/>
                  </a:cubicBezTo>
                  <a:cubicBezTo>
                    <a:pt x="69" y="87"/>
                    <a:pt x="72" y="99"/>
                    <a:pt x="75" y="110"/>
                  </a:cubicBezTo>
                  <a:cubicBezTo>
                    <a:pt x="79" y="121"/>
                    <a:pt x="83" y="132"/>
                    <a:pt x="87" y="141"/>
                  </a:cubicBezTo>
                  <a:cubicBezTo>
                    <a:pt x="89" y="146"/>
                    <a:pt x="92" y="150"/>
                    <a:pt x="94" y="152"/>
                  </a:cubicBezTo>
                  <a:cubicBezTo>
                    <a:pt x="94" y="153"/>
                    <a:pt x="95" y="153"/>
                    <a:pt x="96" y="154"/>
                  </a:cubicBezTo>
                  <a:cubicBezTo>
                    <a:pt x="97" y="155"/>
                    <a:pt x="98" y="156"/>
                    <a:pt x="99" y="157"/>
                  </a:cubicBezTo>
                  <a:cubicBezTo>
                    <a:pt x="101" y="158"/>
                    <a:pt x="103" y="160"/>
                    <a:pt x="105" y="161"/>
                  </a:cubicBezTo>
                  <a:cubicBezTo>
                    <a:pt x="113" y="168"/>
                    <a:pt x="124" y="173"/>
                    <a:pt x="135" y="178"/>
                  </a:cubicBezTo>
                  <a:cubicBezTo>
                    <a:pt x="157" y="189"/>
                    <a:pt x="181" y="197"/>
                    <a:pt x="205" y="205"/>
                  </a:cubicBezTo>
                  <a:cubicBezTo>
                    <a:pt x="201" y="233"/>
                    <a:pt x="201" y="233"/>
                    <a:pt x="201" y="233"/>
                  </a:cubicBezTo>
                  <a:cubicBezTo>
                    <a:pt x="187" y="232"/>
                    <a:pt x="174" y="231"/>
                    <a:pt x="160" y="228"/>
                  </a:cubicBezTo>
                  <a:cubicBezTo>
                    <a:pt x="153" y="227"/>
                    <a:pt x="147" y="226"/>
                    <a:pt x="140" y="225"/>
                  </a:cubicBezTo>
                  <a:cubicBezTo>
                    <a:pt x="133" y="223"/>
                    <a:pt x="126" y="221"/>
                    <a:pt x="120" y="219"/>
                  </a:cubicBezTo>
                  <a:cubicBezTo>
                    <a:pt x="106" y="215"/>
                    <a:pt x="93" y="210"/>
                    <a:pt x="79" y="203"/>
                  </a:cubicBezTo>
                  <a:cubicBezTo>
                    <a:pt x="76" y="201"/>
                    <a:pt x="72" y="199"/>
                    <a:pt x="69" y="196"/>
                  </a:cubicBezTo>
                  <a:cubicBezTo>
                    <a:pt x="67" y="195"/>
                    <a:pt x="65" y="194"/>
                    <a:pt x="64" y="193"/>
                  </a:cubicBezTo>
                  <a:cubicBezTo>
                    <a:pt x="62" y="191"/>
                    <a:pt x="60" y="190"/>
                    <a:pt x="58" y="188"/>
                  </a:cubicBezTo>
                  <a:cubicBezTo>
                    <a:pt x="51" y="181"/>
                    <a:pt x="46" y="174"/>
                    <a:pt x="42" y="167"/>
                  </a:cubicBezTo>
                  <a:cubicBezTo>
                    <a:pt x="34" y="154"/>
                    <a:pt x="28" y="140"/>
                    <a:pt x="24" y="127"/>
                  </a:cubicBezTo>
                  <a:cubicBezTo>
                    <a:pt x="19" y="113"/>
                    <a:pt x="15" y="100"/>
                    <a:pt x="12" y="86"/>
                  </a:cubicBezTo>
                  <a:cubicBezTo>
                    <a:pt x="9" y="73"/>
                    <a:pt x="6" y="59"/>
                    <a:pt x="4" y="46"/>
                  </a:cubicBezTo>
                  <a:cubicBezTo>
                    <a:pt x="3" y="39"/>
                    <a:pt x="2" y="33"/>
                    <a:pt x="2" y="26"/>
                  </a:cubicBezTo>
                  <a:cubicBezTo>
                    <a:pt x="1" y="19"/>
                    <a:pt x="0" y="13"/>
                    <a:pt x="0" y="5"/>
                  </a:cubicBezTo>
                  <a:cubicBezTo>
                    <a:pt x="55" y="0"/>
                    <a:pt x="55" y="0"/>
                    <a:pt x="55" y="0"/>
                  </a:cubicBezTo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4" name="任意多边形 133"/>
            <p:cNvSpPr/>
            <p:nvPr/>
          </p:nvSpPr>
          <p:spPr bwMode="auto">
            <a:xfrm>
              <a:off x="5424488" y="2917825"/>
              <a:ext cx="388938" cy="538163"/>
            </a:xfrm>
            <a:custGeom>
              <a:avLst/>
              <a:gdLst>
                <a:gd name="T0" fmla="*/ 28 w 118"/>
                <a:gd name="T1" fmla="*/ 27 h 163"/>
                <a:gd name="T2" fmla="*/ 102 w 118"/>
                <a:gd name="T3" fmla="*/ 65 h 163"/>
                <a:gd name="T4" fmla="*/ 118 w 118"/>
                <a:gd name="T5" fmla="*/ 146 h 163"/>
                <a:gd name="T6" fmla="*/ 32 w 118"/>
                <a:gd name="T7" fmla="*/ 163 h 163"/>
                <a:gd name="T8" fmla="*/ 28 w 118"/>
                <a:gd name="T9" fmla="*/ 27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" h="163">
                  <a:moveTo>
                    <a:pt x="28" y="27"/>
                  </a:moveTo>
                  <a:cubicBezTo>
                    <a:pt x="55" y="0"/>
                    <a:pt x="89" y="16"/>
                    <a:pt x="102" y="65"/>
                  </a:cubicBezTo>
                  <a:cubicBezTo>
                    <a:pt x="116" y="114"/>
                    <a:pt x="118" y="146"/>
                    <a:pt x="118" y="146"/>
                  </a:cubicBezTo>
                  <a:cubicBezTo>
                    <a:pt x="32" y="163"/>
                    <a:pt x="32" y="163"/>
                    <a:pt x="32" y="163"/>
                  </a:cubicBezTo>
                  <a:cubicBezTo>
                    <a:pt x="16" y="116"/>
                    <a:pt x="0" y="53"/>
                    <a:pt x="28" y="27"/>
                  </a:cubicBezTo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5" name="任意多边形 134"/>
            <p:cNvSpPr/>
            <p:nvPr/>
          </p:nvSpPr>
          <p:spPr bwMode="auto">
            <a:xfrm>
              <a:off x="5659438" y="3422650"/>
              <a:ext cx="39688" cy="6350"/>
            </a:xfrm>
            <a:custGeom>
              <a:avLst/>
              <a:gdLst>
                <a:gd name="T0" fmla="*/ 12 w 12"/>
                <a:gd name="T1" fmla="*/ 0 h 2"/>
                <a:gd name="T2" fmla="*/ 0 w 12"/>
                <a:gd name="T3" fmla="*/ 2 h 2"/>
                <a:gd name="T4" fmla="*/ 0 w 12"/>
                <a:gd name="T5" fmla="*/ 2 h 2"/>
                <a:gd name="T6" fmla="*/ 12 w 12"/>
                <a:gd name="T7" fmla="*/ 0 h 2"/>
                <a:gd name="T8" fmla="*/ 12 w 12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">
                  <a:moveTo>
                    <a:pt x="12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</a:path>
              </a:pathLst>
            </a:custGeom>
            <a:solidFill>
              <a:srgbClr val="7E40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6" name="任意多边形 135"/>
            <p:cNvSpPr/>
            <p:nvPr/>
          </p:nvSpPr>
          <p:spPr bwMode="auto">
            <a:xfrm>
              <a:off x="5659438" y="3306763"/>
              <a:ext cx="39688" cy="122238"/>
            </a:xfrm>
            <a:custGeom>
              <a:avLst/>
              <a:gdLst>
                <a:gd name="T0" fmla="*/ 5 w 12"/>
                <a:gd name="T1" fmla="*/ 0 h 37"/>
                <a:gd name="T2" fmla="*/ 0 w 12"/>
                <a:gd name="T3" fmla="*/ 37 h 37"/>
                <a:gd name="T4" fmla="*/ 12 w 12"/>
                <a:gd name="T5" fmla="*/ 35 h 37"/>
                <a:gd name="T6" fmla="*/ 5 w 12"/>
                <a:gd name="T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37">
                  <a:moveTo>
                    <a:pt x="5" y="0"/>
                  </a:moveTo>
                  <a:cubicBezTo>
                    <a:pt x="3" y="12"/>
                    <a:pt x="2" y="24"/>
                    <a:pt x="0" y="37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1" y="23"/>
                    <a:pt x="8" y="11"/>
                    <a:pt x="5" y="0"/>
                  </a:cubicBezTo>
                </a:path>
              </a:pathLst>
            </a:custGeom>
            <a:solidFill>
              <a:srgbClr val="2D56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7" name="任意多边形 136"/>
            <p:cNvSpPr/>
            <p:nvPr/>
          </p:nvSpPr>
          <p:spPr bwMode="auto">
            <a:xfrm>
              <a:off x="6078538" y="3744913"/>
              <a:ext cx="168275" cy="128588"/>
            </a:xfrm>
            <a:custGeom>
              <a:avLst/>
              <a:gdLst>
                <a:gd name="T0" fmla="*/ 31 w 51"/>
                <a:gd name="T1" fmla="*/ 0 h 39"/>
                <a:gd name="T2" fmla="*/ 51 w 51"/>
                <a:gd name="T3" fmla="*/ 1 h 39"/>
                <a:gd name="T4" fmla="*/ 35 w 51"/>
                <a:gd name="T5" fmla="*/ 39 h 39"/>
                <a:gd name="T6" fmla="*/ 1 w 51"/>
                <a:gd name="T7" fmla="*/ 21 h 39"/>
                <a:gd name="T8" fmla="*/ 7 w 51"/>
                <a:gd name="T9" fmla="*/ 12 h 39"/>
                <a:gd name="T10" fmla="*/ 31 w 51"/>
                <a:gd name="T1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39">
                  <a:moveTo>
                    <a:pt x="31" y="0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35" y="39"/>
                    <a:pt x="35" y="39"/>
                    <a:pt x="35" y="39"/>
                  </a:cubicBezTo>
                  <a:cubicBezTo>
                    <a:pt x="35" y="39"/>
                    <a:pt x="0" y="38"/>
                    <a:pt x="1" y="21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2" y="5"/>
                    <a:pt x="21" y="1"/>
                    <a:pt x="31" y="0"/>
                  </a:cubicBezTo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8" name="任意多边形 137"/>
            <p:cNvSpPr/>
            <p:nvPr/>
          </p:nvSpPr>
          <p:spPr bwMode="auto">
            <a:xfrm>
              <a:off x="6192838" y="3748088"/>
              <a:ext cx="128588" cy="125413"/>
            </a:xfrm>
            <a:custGeom>
              <a:avLst/>
              <a:gdLst>
                <a:gd name="T0" fmla="*/ 81 w 81"/>
                <a:gd name="T1" fmla="*/ 7 h 79"/>
                <a:gd name="T2" fmla="*/ 44 w 81"/>
                <a:gd name="T3" fmla="*/ 79 h 79"/>
                <a:gd name="T4" fmla="*/ 0 w 81"/>
                <a:gd name="T5" fmla="*/ 79 h 79"/>
                <a:gd name="T6" fmla="*/ 34 w 81"/>
                <a:gd name="T7" fmla="*/ 0 h 79"/>
                <a:gd name="T8" fmla="*/ 81 w 81"/>
                <a:gd name="T9" fmla="*/ 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79">
                  <a:moveTo>
                    <a:pt x="81" y="7"/>
                  </a:moveTo>
                  <a:lnTo>
                    <a:pt x="44" y="79"/>
                  </a:lnTo>
                  <a:lnTo>
                    <a:pt x="0" y="79"/>
                  </a:lnTo>
                  <a:lnTo>
                    <a:pt x="34" y="0"/>
                  </a:lnTo>
                  <a:lnTo>
                    <a:pt x="81" y="7"/>
                  </a:lnTo>
                  <a:close/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9" name="任意多边形 138"/>
            <p:cNvSpPr/>
            <p:nvPr/>
          </p:nvSpPr>
          <p:spPr bwMode="auto">
            <a:xfrm>
              <a:off x="6192838" y="3748088"/>
              <a:ext cx="128588" cy="125413"/>
            </a:xfrm>
            <a:custGeom>
              <a:avLst/>
              <a:gdLst>
                <a:gd name="T0" fmla="*/ 81 w 81"/>
                <a:gd name="T1" fmla="*/ 7 h 79"/>
                <a:gd name="T2" fmla="*/ 44 w 81"/>
                <a:gd name="T3" fmla="*/ 79 h 79"/>
                <a:gd name="T4" fmla="*/ 0 w 81"/>
                <a:gd name="T5" fmla="*/ 79 h 79"/>
                <a:gd name="T6" fmla="*/ 34 w 81"/>
                <a:gd name="T7" fmla="*/ 0 h 79"/>
                <a:gd name="T8" fmla="*/ 81 w 81"/>
                <a:gd name="T9" fmla="*/ 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79">
                  <a:moveTo>
                    <a:pt x="81" y="7"/>
                  </a:moveTo>
                  <a:lnTo>
                    <a:pt x="44" y="79"/>
                  </a:lnTo>
                  <a:lnTo>
                    <a:pt x="0" y="79"/>
                  </a:lnTo>
                  <a:lnTo>
                    <a:pt x="34" y="0"/>
                  </a:lnTo>
                  <a:lnTo>
                    <a:pt x="81" y="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0" name="任意多边形 139"/>
            <p:cNvSpPr/>
            <p:nvPr/>
          </p:nvSpPr>
          <p:spPr bwMode="auto">
            <a:xfrm>
              <a:off x="4968876" y="2868613"/>
              <a:ext cx="752475" cy="1011238"/>
            </a:xfrm>
            <a:custGeom>
              <a:avLst/>
              <a:gdLst>
                <a:gd name="T0" fmla="*/ 169 w 228"/>
                <a:gd name="T1" fmla="*/ 15 h 307"/>
                <a:gd name="T2" fmla="*/ 128 w 228"/>
                <a:gd name="T3" fmla="*/ 4 h 307"/>
                <a:gd name="T4" fmla="*/ 75 w 228"/>
                <a:gd name="T5" fmla="*/ 1 h 307"/>
                <a:gd name="T6" fmla="*/ 39 w 228"/>
                <a:gd name="T7" fmla="*/ 26 h 307"/>
                <a:gd name="T8" fmla="*/ 12 w 228"/>
                <a:gd name="T9" fmla="*/ 140 h 307"/>
                <a:gd name="T10" fmla="*/ 0 w 228"/>
                <a:gd name="T11" fmla="*/ 307 h 307"/>
                <a:gd name="T12" fmla="*/ 198 w 228"/>
                <a:gd name="T13" fmla="*/ 307 h 307"/>
                <a:gd name="T14" fmla="*/ 225 w 228"/>
                <a:gd name="T15" fmla="*/ 71 h 307"/>
                <a:gd name="T16" fmla="*/ 205 w 228"/>
                <a:gd name="T17" fmla="*/ 32 h 307"/>
                <a:gd name="T18" fmla="*/ 169 w 228"/>
                <a:gd name="T19" fmla="*/ 15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307">
                  <a:moveTo>
                    <a:pt x="169" y="15"/>
                  </a:moveTo>
                  <a:cubicBezTo>
                    <a:pt x="128" y="4"/>
                    <a:pt x="128" y="4"/>
                    <a:pt x="128" y="4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59" y="0"/>
                    <a:pt x="44" y="11"/>
                    <a:pt x="39" y="26"/>
                  </a:cubicBezTo>
                  <a:cubicBezTo>
                    <a:pt x="29" y="57"/>
                    <a:pt x="19" y="102"/>
                    <a:pt x="12" y="140"/>
                  </a:cubicBezTo>
                  <a:cubicBezTo>
                    <a:pt x="5" y="183"/>
                    <a:pt x="1" y="248"/>
                    <a:pt x="0" y="307"/>
                  </a:cubicBezTo>
                  <a:cubicBezTo>
                    <a:pt x="198" y="307"/>
                    <a:pt x="198" y="307"/>
                    <a:pt x="198" y="307"/>
                  </a:cubicBezTo>
                  <a:cubicBezTo>
                    <a:pt x="202" y="184"/>
                    <a:pt x="218" y="112"/>
                    <a:pt x="225" y="71"/>
                  </a:cubicBezTo>
                  <a:cubicBezTo>
                    <a:pt x="228" y="55"/>
                    <a:pt x="219" y="39"/>
                    <a:pt x="205" y="32"/>
                  </a:cubicBezTo>
                  <a:cubicBezTo>
                    <a:pt x="169" y="15"/>
                    <a:pt x="169" y="15"/>
                    <a:pt x="169" y="15"/>
                  </a:cubicBezTo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1" name="任意多边形 140"/>
            <p:cNvSpPr/>
            <p:nvPr/>
          </p:nvSpPr>
          <p:spPr bwMode="auto">
            <a:xfrm>
              <a:off x="4979988" y="3024188"/>
              <a:ext cx="300038" cy="615950"/>
            </a:xfrm>
            <a:custGeom>
              <a:avLst/>
              <a:gdLst>
                <a:gd name="T0" fmla="*/ 35 w 91"/>
                <a:gd name="T1" fmla="*/ 0 h 187"/>
                <a:gd name="T2" fmla="*/ 29 w 91"/>
                <a:gd name="T3" fmla="*/ 1 h 187"/>
                <a:gd name="T4" fmla="*/ 9 w 91"/>
                <a:gd name="T5" fmla="*/ 93 h 187"/>
                <a:gd name="T6" fmla="*/ 0 w 91"/>
                <a:gd name="T7" fmla="*/ 187 h 187"/>
                <a:gd name="T8" fmla="*/ 80 w 91"/>
                <a:gd name="T9" fmla="*/ 95 h 187"/>
                <a:gd name="T10" fmla="*/ 35 w 91"/>
                <a:gd name="T11" fmla="*/ 0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1" h="187">
                  <a:moveTo>
                    <a:pt x="35" y="0"/>
                  </a:moveTo>
                  <a:cubicBezTo>
                    <a:pt x="33" y="0"/>
                    <a:pt x="31" y="0"/>
                    <a:pt x="29" y="1"/>
                  </a:cubicBezTo>
                  <a:cubicBezTo>
                    <a:pt x="22" y="29"/>
                    <a:pt x="15" y="63"/>
                    <a:pt x="9" y="93"/>
                  </a:cubicBezTo>
                  <a:cubicBezTo>
                    <a:pt x="5" y="119"/>
                    <a:pt x="2" y="152"/>
                    <a:pt x="0" y="187"/>
                  </a:cubicBezTo>
                  <a:cubicBezTo>
                    <a:pt x="32" y="183"/>
                    <a:pt x="68" y="146"/>
                    <a:pt x="80" y="95"/>
                  </a:cubicBezTo>
                  <a:cubicBezTo>
                    <a:pt x="91" y="49"/>
                    <a:pt x="67" y="0"/>
                    <a:pt x="35" y="0"/>
                  </a:cubicBezTo>
                </a:path>
              </a:pathLst>
            </a:custGeom>
            <a:solidFill>
              <a:srgbClr val="2D56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2" name="任意多边形 141"/>
            <p:cNvSpPr/>
            <p:nvPr/>
          </p:nvSpPr>
          <p:spPr bwMode="auto">
            <a:xfrm>
              <a:off x="5345113" y="2660650"/>
              <a:ext cx="254000" cy="376238"/>
            </a:xfrm>
            <a:custGeom>
              <a:avLst/>
              <a:gdLst>
                <a:gd name="T0" fmla="*/ 31 w 77"/>
                <a:gd name="T1" fmla="*/ 0 h 114"/>
                <a:gd name="T2" fmla="*/ 47 w 77"/>
                <a:gd name="T3" fmla="*/ 24 h 114"/>
                <a:gd name="T4" fmla="*/ 68 w 77"/>
                <a:gd name="T5" fmla="*/ 57 h 114"/>
                <a:gd name="T6" fmla="*/ 62 w 77"/>
                <a:gd name="T7" fmla="*/ 67 h 114"/>
                <a:gd name="T8" fmla="*/ 71 w 77"/>
                <a:gd name="T9" fmla="*/ 93 h 114"/>
                <a:gd name="T10" fmla="*/ 76 w 77"/>
                <a:gd name="T11" fmla="*/ 104 h 114"/>
                <a:gd name="T12" fmla="*/ 52 w 77"/>
                <a:gd name="T13" fmla="*/ 111 h 114"/>
                <a:gd name="T14" fmla="*/ 6 w 77"/>
                <a:gd name="T15" fmla="*/ 86 h 114"/>
                <a:gd name="T16" fmla="*/ 8 w 77"/>
                <a:gd name="T17" fmla="*/ 69 h 114"/>
                <a:gd name="T18" fmla="*/ 31 w 77"/>
                <a:gd name="T19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114">
                  <a:moveTo>
                    <a:pt x="31" y="0"/>
                  </a:moveTo>
                  <a:cubicBezTo>
                    <a:pt x="47" y="24"/>
                    <a:pt x="47" y="24"/>
                    <a:pt x="47" y="24"/>
                  </a:cubicBezTo>
                  <a:cubicBezTo>
                    <a:pt x="68" y="57"/>
                    <a:pt x="68" y="57"/>
                    <a:pt x="68" y="57"/>
                  </a:cubicBezTo>
                  <a:cubicBezTo>
                    <a:pt x="67" y="58"/>
                    <a:pt x="64" y="63"/>
                    <a:pt x="62" y="67"/>
                  </a:cubicBezTo>
                  <a:cubicBezTo>
                    <a:pt x="58" y="75"/>
                    <a:pt x="54" y="81"/>
                    <a:pt x="71" y="93"/>
                  </a:cubicBezTo>
                  <a:cubicBezTo>
                    <a:pt x="75" y="95"/>
                    <a:pt x="77" y="100"/>
                    <a:pt x="76" y="104"/>
                  </a:cubicBezTo>
                  <a:cubicBezTo>
                    <a:pt x="75" y="109"/>
                    <a:pt x="70" y="114"/>
                    <a:pt x="52" y="111"/>
                  </a:cubicBezTo>
                  <a:cubicBezTo>
                    <a:pt x="31" y="107"/>
                    <a:pt x="17" y="96"/>
                    <a:pt x="6" y="86"/>
                  </a:cubicBezTo>
                  <a:cubicBezTo>
                    <a:pt x="0" y="79"/>
                    <a:pt x="2" y="75"/>
                    <a:pt x="8" y="69"/>
                  </a:cubicBezTo>
                  <a:cubicBezTo>
                    <a:pt x="24" y="51"/>
                    <a:pt x="29" y="23"/>
                    <a:pt x="31" y="0"/>
                  </a:cubicBezTo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3" name="任意多边形 142"/>
            <p:cNvSpPr/>
            <p:nvPr/>
          </p:nvSpPr>
          <p:spPr bwMode="auto">
            <a:xfrm>
              <a:off x="5546726" y="2874963"/>
              <a:ext cx="6350" cy="11113"/>
            </a:xfrm>
            <a:custGeom>
              <a:avLst/>
              <a:gdLst>
                <a:gd name="T0" fmla="*/ 2 w 2"/>
                <a:gd name="T1" fmla="*/ 0 h 3"/>
                <a:gd name="T2" fmla="*/ 1 w 2"/>
                <a:gd name="T3" fmla="*/ 2 h 3"/>
                <a:gd name="T4" fmla="*/ 0 w 2"/>
                <a:gd name="T5" fmla="*/ 3 h 3"/>
                <a:gd name="T6" fmla="*/ 1 w 2"/>
                <a:gd name="T7" fmla="*/ 2 h 3"/>
                <a:gd name="T8" fmla="*/ 2 w 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1" y="1"/>
                    <a:pt x="1" y="2"/>
                    <a:pt x="1" y="2"/>
                  </a:cubicBezTo>
                  <a:cubicBezTo>
                    <a:pt x="1" y="2"/>
                    <a:pt x="1" y="3"/>
                    <a:pt x="0" y="3"/>
                  </a:cubicBezTo>
                  <a:cubicBezTo>
                    <a:pt x="1" y="3"/>
                    <a:pt x="1" y="2"/>
                    <a:pt x="1" y="2"/>
                  </a:cubicBezTo>
                  <a:cubicBezTo>
                    <a:pt x="1" y="2"/>
                    <a:pt x="1" y="1"/>
                    <a:pt x="2" y="0"/>
                  </a:cubicBezTo>
                </a:path>
              </a:pathLst>
            </a:cu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4" name="任意多边形 143"/>
            <p:cNvSpPr/>
            <p:nvPr/>
          </p:nvSpPr>
          <p:spPr bwMode="auto">
            <a:xfrm>
              <a:off x="5500688" y="2819400"/>
              <a:ext cx="63500" cy="69850"/>
            </a:xfrm>
            <a:custGeom>
              <a:avLst/>
              <a:gdLst>
                <a:gd name="T0" fmla="*/ 0 w 19"/>
                <a:gd name="T1" fmla="*/ 0 h 21"/>
                <a:gd name="T2" fmla="*/ 14 w 19"/>
                <a:gd name="T3" fmla="*/ 21 h 21"/>
                <a:gd name="T4" fmla="*/ 14 w 19"/>
                <a:gd name="T5" fmla="*/ 20 h 21"/>
                <a:gd name="T6" fmla="*/ 15 w 19"/>
                <a:gd name="T7" fmla="*/ 19 h 21"/>
                <a:gd name="T8" fmla="*/ 16 w 19"/>
                <a:gd name="T9" fmla="*/ 17 h 21"/>
                <a:gd name="T10" fmla="*/ 19 w 19"/>
                <a:gd name="T11" fmla="*/ 11 h 21"/>
                <a:gd name="T12" fmla="*/ 0 w 1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21">
                  <a:moveTo>
                    <a:pt x="0" y="0"/>
                  </a:moveTo>
                  <a:cubicBezTo>
                    <a:pt x="2" y="8"/>
                    <a:pt x="8" y="17"/>
                    <a:pt x="14" y="21"/>
                  </a:cubicBezTo>
                  <a:cubicBezTo>
                    <a:pt x="14" y="21"/>
                    <a:pt x="14" y="20"/>
                    <a:pt x="14" y="20"/>
                  </a:cubicBezTo>
                  <a:cubicBezTo>
                    <a:pt x="15" y="20"/>
                    <a:pt x="15" y="19"/>
                    <a:pt x="15" y="19"/>
                  </a:cubicBezTo>
                  <a:cubicBezTo>
                    <a:pt x="15" y="19"/>
                    <a:pt x="15" y="18"/>
                    <a:pt x="16" y="17"/>
                  </a:cubicBezTo>
                  <a:cubicBezTo>
                    <a:pt x="17" y="15"/>
                    <a:pt x="18" y="13"/>
                    <a:pt x="19" y="11"/>
                  </a:cubicBezTo>
                  <a:cubicBezTo>
                    <a:pt x="12" y="9"/>
                    <a:pt x="6" y="6"/>
                    <a:pt x="0" y="0"/>
                  </a:cubicBezTo>
                </a:path>
              </a:pathLst>
            </a:custGeom>
            <a:solidFill>
              <a:srgbClr val="9149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6" name="任意多边形 145"/>
            <p:cNvSpPr/>
            <p:nvPr/>
          </p:nvSpPr>
          <p:spPr bwMode="auto">
            <a:xfrm>
              <a:off x="5711826" y="2482850"/>
              <a:ext cx="109538" cy="220663"/>
            </a:xfrm>
            <a:custGeom>
              <a:avLst/>
              <a:gdLst>
                <a:gd name="T0" fmla="*/ 27 w 33"/>
                <a:gd name="T1" fmla="*/ 17 h 67"/>
                <a:gd name="T2" fmla="*/ 0 w 33"/>
                <a:gd name="T3" fmla="*/ 12 h 67"/>
                <a:gd name="T4" fmla="*/ 11 w 33"/>
                <a:gd name="T5" fmla="*/ 57 h 67"/>
                <a:gd name="T6" fmla="*/ 27 w 33"/>
                <a:gd name="T7" fmla="*/ 1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67">
                  <a:moveTo>
                    <a:pt x="27" y="17"/>
                  </a:moveTo>
                  <a:cubicBezTo>
                    <a:pt x="21" y="0"/>
                    <a:pt x="0" y="12"/>
                    <a:pt x="0" y="12"/>
                  </a:cubicBezTo>
                  <a:cubicBezTo>
                    <a:pt x="0" y="12"/>
                    <a:pt x="0" y="48"/>
                    <a:pt x="11" y="57"/>
                  </a:cubicBezTo>
                  <a:cubicBezTo>
                    <a:pt x="23" y="67"/>
                    <a:pt x="33" y="35"/>
                    <a:pt x="27" y="1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7" name="任意多边形 146"/>
            <p:cNvSpPr/>
            <p:nvPr/>
          </p:nvSpPr>
          <p:spPr bwMode="auto">
            <a:xfrm>
              <a:off x="5424488" y="2341563"/>
              <a:ext cx="403225" cy="557213"/>
            </a:xfrm>
            <a:custGeom>
              <a:avLst/>
              <a:gdLst>
                <a:gd name="T0" fmla="*/ 12 w 122"/>
                <a:gd name="T1" fmla="*/ 53 h 169"/>
                <a:gd name="T2" fmla="*/ 14 w 122"/>
                <a:gd name="T3" fmla="*/ 134 h 169"/>
                <a:gd name="T4" fmla="*/ 98 w 122"/>
                <a:gd name="T5" fmla="*/ 131 h 169"/>
                <a:gd name="T6" fmla="*/ 91 w 122"/>
                <a:gd name="T7" fmla="*/ 23 h 169"/>
                <a:gd name="T8" fmla="*/ 12 w 122"/>
                <a:gd name="T9" fmla="*/ 5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169">
                  <a:moveTo>
                    <a:pt x="12" y="53"/>
                  </a:moveTo>
                  <a:cubicBezTo>
                    <a:pt x="6" y="90"/>
                    <a:pt x="0" y="110"/>
                    <a:pt x="14" y="134"/>
                  </a:cubicBezTo>
                  <a:cubicBezTo>
                    <a:pt x="34" y="169"/>
                    <a:pt x="81" y="164"/>
                    <a:pt x="98" y="131"/>
                  </a:cubicBezTo>
                  <a:cubicBezTo>
                    <a:pt x="114" y="101"/>
                    <a:pt x="122" y="47"/>
                    <a:pt x="91" y="23"/>
                  </a:cubicBezTo>
                  <a:cubicBezTo>
                    <a:pt x="60" y="0"/>
                    <a:pt x="19" y="17"/>
                    <a:pt x="12" y="53"/>
                  </a:cubicBezTo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8" name="任意多边形 147"/>
            <p:cNvSpPr/>
            <p:nvPr/>
          </p:nvSpPr>
          <p:spPr bwMode="auto">
            <a:xfrm>
              <a:off x="5411788" y="2490788"/>
              <a:ext cx="177800" cy="166688"/>
            </a:xfrm>
            <a:custGeom>
              <a:avLst/>
              <a:gdLst>
                <a:gd name="T0" fmla="*/ 9 w 54"/>
                <a:gd name="T1" fmla="*/ 30 h 51"/>
                <a:gd name="T2" fmla="*/ 24 w 54"/>
                <a:gd name="T3" fmla="*/ 51 h 51"/>
                <a:gd name="T4" fmla="*/ 54 w 54"/>
                <a:gd name="T5" fmla="*/ 14 h 51"/>
                <a:gd name="T6" fmla="*/ 9 w 54"/>
                <a:gd name="T7" fmla="*/ 3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" h="51">
                  <a:moveTo>
                    <a:pt x="9" y="30"/>
                  </a:moveTo>
                  <a:cubicBezTo>
                    <a:pt x="0" y="45"/>
                    <a:pt x="24" y="51"/>
                    <a:pt x="24" y="51"/>
                  </a:cubicBezTo>
                  <a:cubicBezTo>
                    <a:pt x="24" y="51"/>
                    <a:pt x="53" y="29"/>
                    <a:pt x="54" y="14"/>
                  </a:cubicBezTo>
                  <a:cubicBezTo>
                    <a:pt x="54" y="0"/>
                    <a:pt x="17" y="17"/>
                    <a:pt x="9" y="3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9" name="任意多边形 148"/>
            <p:cNvSpPr/>
            <p:nvPr/>
          </p:nvSpPr>
          <p:spPr bwMode="auto">
            <a:xfrm>
              <a:off x="5378451" y="2332038"/>
              <a:ext cx="458788" cy="276225"/>
            </a:xfrm>
            <a:custGeom>
              <a:avLst/>
              <a:gdLst>
                <a:gd name="T0" fmla="*/ 10 w 139"/>
                <a:gd name="T1" fmla="*/ 84 h 84"/>
                <a:gd name="T2" fmla="*/ 4 w 139"/>
                <a:gd name="T3" fmla="*/ 51 h 84"/>
                <a:gd name="T4" fmla="*/ 33 w 139"/>
                <a:gd name="T5" fmla="*/ 28 h 84"/>
                <a:gd name="T6" fmla="*/ 116 w 139"/>
                <a:gd name="T7" fmla="*/ 28 h 84"/>
                <a:gd name="T8" fmla="*/ 108 w 139"/>
                <a:gd name="T9" fmla="*/ 64 h 84"/>
                <a:gd name="T10" fmla="*/ 73 w 139"/>
                <a:gd name="T11" fmla="*/ 53 h 84"/>
                <a:gd name="T12" fmla="*/ 10 w 139"/>
                <a:gd name="T13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84">
                  <a:moveTo>
                    <a:pt x="10" y="84"/>
                  </a:moveTo>
                  <a:cubicBezTo>
                    <a:pt x="5" y="80"/>
                    <a:pt x="0" y="64"/>
                    <a:pt x="4" y="51"/>
                  </a:cubicBezTo>
                  <a:cubicBezTo>
                    <a:pt x="8" y="37"/>
                    <a:pt x="21" y="23"/>
                    <a:pt x="33" y="28"/>
                  </a:cubicBezTo>
                  <a:cubicBezTo>
                    <a:pt x="37" y="15"/>
                    <a:pt x="96" y="0"/>
                    <a:pt x="116" y="28"/>
                  </a:cubicBezTo>
                  <a:cubicBezTo>
                    <a:pt x="139" y="60"/>
                    <a:pt x="127" y="77"/>
                    <a:pt x="108" y="64"/>
                  </a:cubicBezTo>
                  <a:cubicBezTo>
                    <a:pt x="73" y="53"/>
                    <a:pt x="73" y="53"/>
                    <a:pt x="73" y="53"/>
                  </a:cubicBezTo>
                  <a:cubicBezTo>
                    <a:pt x="10" y="84"/>
                    <a:pt x="10" y="84"/>
                    <a:pt x="10" y="84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0" name="任意多边形 149"/>
            <p:cNvSpPr/>
            <p:nvPr/>
          </p:nvSpPr>
          <p:spPr bwMode="auto">
            <a:xfrm>
              <a:off x="5503863" y="2463800"/>
              <a:ext cx="314325" cy="104775"/>
            </a:xfrm>
            <a:custGeom>
              <a:avLst/>
              <a:gdLst>
                <a:gd name="T0" fmla="*/ 77 w 95"/>
                <a:gd name="T1" fmla="*/ 21 h 32"/>
                <a:gd name="T2" fmla="*/ 32 w 95"/>
                <a:gd name="T3" fmla="*/ 30 h 32"/>
                <a:gd name="T4" fmla="*/ 44 w 95"/>
                <a:gd name="T5" fmla="*/ 17 h 32"/>
                <a:gd name="T6" fmla="*/ 17 w 95"/>
                <a:gd name="T7" fmla="*/ 24 h 32"/>
                <a:gd name="T8" fmla="*/ 9 w 95"/>
                <a:gd name="T9" fmla="*/ 5 h 32"/>
                <a:gd name="T10" fmla="*/ 77 w 95"/>
                <a:gd name="T11" fmla="*/ 2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5" h="32">
                  <a:moveTo>
                    <a:pt x="77" y="21"/>
                  </a:moveTo>
                  <a:cubicBezTo>
                    <a:pt x="68" y="32"/>
                    <a:pt x="32" y="30"/>
                    <a:pt x="32" y="30"/>
                  </a:cubicBezTo>
                  <a:cubicBezTo>
                    <a:pt x="44" y="17"/>
                    <a:pt x="44" y="17"/>
                    <a:pt x="44" y="17"/>
                  </a:cubicBezTo>
                  <a:cubicBezTo>
                    <a:pt x="44" y="17"/>
                    <a:pt x="35" y="25"/>
                    <a:pt x="17" y="24"/>
                  </a:cubicBezTo>
                  <a:cubicBezTo>
                    <a:pt x="0" y="23"/>
                    <a:pt x="9" y="5"/>
                    <a:pt x="9" y="5"/>
                  </a:cubicBezTo>
                  <a:cubicBezTo>
                    <a:pt x="9" y="5"/>
                    <a:pt x="95" y="0"/>
                    <a:pt x="77" y="21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1" name="任意多边形 150"/>
            <p:cNvSpPr/>
            <p:nvPr/>
          </p:nvSpPr>
          <p:spPr bwMode="auto">
            <a:xfrm>
              <a:off x="5399088" y="2546350"/>
              <a:ext cx="98425" cy="157163"/>
            </a:xfrm>
            <a:custGeom>
              <a:avLst/>
              <a:gdLst>
                <a:gd name="T0" fmla="*/ 1 w 30"/>
                <a:gd name="T1" fmla="*/ 18 h 48"/>
                <a:gd name="T2" fmla="*/ 8 w 30"/>
                <a:gd name="T3" fmla="*/ 40 h 48"/>
                <a:gd name="T4" fmla="*/ 27 w 30"/>
                <a:gd name="T5" fmla="*/ 31 h 48"/>
                <a:gd name="T6" fmla="*/ 18 w 30"/>
                <a:gd name="T7" fmla="*/ 5 h 48"/>
                <a:gd name="T8" fmla="*/ 1 w 30"/>
                <a:gd name="T9" fmla="*/ 1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48">
                  <a:moveTo>
                    <a:pt x="1" y="18"/>
                  </a:moveTo>
                  <a:cubicBezTo>
                    <a:pt x="0" y="26"/>
                    <a:pt x="4" y="34"/>
                    <a:pt x="8" y="40"/>
                  </a:cubicBezTo>
                  <a:cubicBezTo>
                    <a:pt x="15" y="48"/>
                    <a:pt x="25" y="41"/>
                    <a:pt x="27" y="31"/>
                  </a:cubicBezTo>
                  <a:cubicBezTo>
                    <a:pt x="30" y="23"/>
                    <a:pt x="27" y="9"/>
                    <a:pt x="18" y="5"/>
                  </a:cubicBezTo>
                  <a:cubicBezTo>
                    <a:pt x="9" y="0"/>
                    <a:pt x="1" y="8"/>
                    <a:pt x="1" y="18"/>
                  </a:cubicBezTo>
                  <a:close/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2" name="任意多边形 151"/>
            <p:cNvSpPr/>
            <p:nvPr/>
          </p:nvSpPr>
          <p:spPr bwMode="auto">
            <a:xfrm>
              <a:off x="5375276" y="2305050"/>
              <a:ext cx="446088" cy="223838"/>
            </a:xfrm>
            <a:custGeom>
              <a:avLst/>
              <a:gdLst>
                <a:gd name="T0" fmla="*/ 4 w 135"/>
                <a:gd name="T1" fmla="*/ 68 h 68"/>
                <a:gd name="T2" fmla="*/ 14 w 135"/>
                <a:gd name="T3" fmla="*/ 34 h 68"/>
                <a:gd name="T4" fmla="*/ 19 w 135"/>
                <a:gd name="T5" fmla="*/ 16 h 68"/>
                <a:gd name="T6" fmla="*/ 97 w 135"/>
                <a:gd name="T7" fmla="*/ 9 h 68"/>
                <a:gd name="T8" fmla="*/ 125 w 135"/>
                <a:gd name="T9" fmla="*/ 50 h 68"/>
                <a:gd name="T10" fmla="*/ 4 w 135"/>
                <a:gd name="T11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5" h="68">
                  <a:moveTo>
                    <a:pt x="4" y="68"/>
                  </a:moveTo>
                  <a:cubicBezTo>
                    <a:pt x="2" y="57"/>
                    <a:pt x="6" y="42"/>
                    <a:pt x="14" y="34"/>
                  </a:cubicBezTo>
                  <a:cubicBezTo>
                    <a:pt x="10" y="34"/>
                    <a:pt x="0" y="28"/>
                    <a:pt x="19" y="16"/>
                  </a:cubicBezTo>
                  <a:cubicBezTo>
                    <a:pt x="38" y="3"/>
                    <a:pt x="77" y="0"/>
                    <a:pt x="97" y="9"/>
                  </a:cubicBezTo>
                  <a:cubicBezTo>
                    <a:pt x="135" y="28"/>
                    <a:pt x="125" y="50"/>
                    <a:pt x="125" y="50"/>
                  </a:cubicBezTo>
                  <a:cubicBezTo>
                    <a:pt x="4" y="68"/>
                    <a:pt x="4" y="68"/>
                    <a:pt x="4" y="68"/>
                  </a:cubicBezTo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3" name="任意多边形 152"/>
            <p:cNvSpPr/>
            <p:nvPr/>
          </p:nvSpPr>
          <p:spPr bwMode="auto">
            <a:xfrm>
              <a:off x="5387976" y="2319338"/>
              <a:ext cx="403225" cy="209550"/>
            </a:xfrm>
            <a:custGeom>
              <a:avLst/>
              <a:gdLst>
                <a:gd name="T0" fmla="*/ 63 w 122"/>
                <a:gd name="T1" fmla="*/ 0 h 64"/>
                <a:gd name="T2" fmla="*/ 15 w 122"/>
                <a:gd name="T3" fmla="*/ 12 h 64"/>
                <a:gd name="T4" fmla="*/ 4 w 122"/>
                <a:gd name="T5" fmla="*/ 25 h 64"/>
                <a:gd name="T6" fmla="*/ 9 w 122"/>
                <a:gd name="T7" fmla="*/ 30 h 64"/>
                <a:gd name="T8" fmla="*/ 10 w 122"/>
                <a:gd name="T9" fmla="*/ 30 h 64"/>
                <a:gd name="T10" fmla="*/ 10 w 122"/>
                <a:gd name="T11" fmla="*/ 30 h 64"/>
                <a:gd name="T12" fmla="*/ 10 w 122"/>
                <a:gd name="T13" fmla="*/ 30 h 64"/>
                <a:gd name="T14" fmla="*/ 0 w 122"/>
                <a:gd name="T15" fmla="*/ 57 h 64"/>
                <a:gd name="T16" fmla="*/ 0 w 122"/>
                <a:gd name="T17" fmla="*/ 64 h 64"/>
                <a:gd name="T18" fmla="*/ 121 w 122"/>
                <a:gd name="T19" fmla="*/ 46 h 64"/>
                <a:gd name="T20" fmla="*/ 122 w 122"/>
                <a:gd name="T21" fmla="*/ 39 h 64"/>
                <a:gd name="T22" fmla="*/ 93 w 122"/>
                <a:gd name="T23" fmla="*/ 5 h 64"/>
                <a:gd name="T24" fmla="*/ 63 w 122"/>
                <a:gd name="T2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2" h="64">
                  <a:moveTo>
                    <a:pt x="63" y="0"/>
                  </a:moveTo>
                  <a:cubicBezTo>
                    <a:pt x="46" y="0"/>
                    <a:pt x="27" y="4"/>
                    <a:pt x="15" y="12"/>
                  </a:cubicBezTo>
                  <a:cubicBezTo>
                    <a:pt x="7" y="17"/>
                    <a:pt x="4" y="22"/>
                    <a:pt x="4" y="25"/>
                  </a:cubicBezTo>
                  <a:cubicBezTo>
                    <a:pt x="4" y="28"/>
                    <a:pt x="7" y="30"/>
                    <a:pt x="9" y="30"/>
                  </a:cubicBezTo>
                  <a:cubicBezTo>
                    <a:pt x="9" y="30"/>
                    <a:pt x="10" y="30"/>
                    <a:pt x="10" y="30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4" y="36"/>
                    <a:pt x="0" y="48"/>
                    <a:pt x="0" y="57"/>
                  </a:cubicBezTo>
                  <a:cubicBezTo>
                    <a:pt x="0" y="60"/>
                    <a:pt x="0" y="62"/>
                    <a:pt x="0" y="64"/>
                  </a:cubicBezTo>
                  <a:cubicBezTo>
                    <a:pt x="121" y="46"/>
                    <a:pt x="121" y="46"/>
                    <a:pt x="121" y="46"/>
                  </a:cubicBezTo>
                  <a:cubicBezTo>
                    <a:pt x="121" y="46"/>
                    <a:pt x="122" y="44"/>
                    <a:pt x="122" y="39"/>
                  </a:cubicBezTo>
                  <a:cubicBezTo>
                    <a:pt x="122" y="31"/>
                    <a:pt x="118" y="18"/>
                    <a:pt x="93" y="5"/>
                  </a:cubicBezTo>
                  <a:cubicBezTo>
                    <a:pt x="85" y="2"/>
                    <a:pt x="74" y="0"/>
                    <a:pt x="63" y="0"/>
                  </a:cubicBezTo>
                </a:path>
              </a:pathLst>
            </a:custGeom>
            <a:solidFill>
              <a:srgbClr val="2D56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4" name="任意多边形 153"/>
            <p:cNvSpPr/>
            <p:nvPr/>
          </p:nvSpPr>
          <p:spPr bwMode="auto">
            <a:xfrm>
              <a:off x="5368926" y="2417763"/>
              <a:ext cx="449263" cy="187325"/>
            </a:xfrm>
            <a:custGeom>
              <a:avLst/>
              <a:gdLst>
                <a:gd name="T0" fmla="*/ 7 w 136"/>
                <a:gd name="T1" fmla="*/ 56 h 57"/>
                <a:gd name="T2" fmla="*/ 76 w 136"/>
                <a:gd name="T3" fmla="*/ 26 h 57"/>
                <a:gd name="T4" fmla="*/ 130 w 136"/>
                <a:gd name="T5" fmla="*/ 36 h 57"/>
                <a:gd name="T6" fmla="*/ 131 w 136"/>
                <a:gd name="T7" fmla="*/ 14 h 57"/>
                <a:gd name="T8" fmla="*/ 70 w 136"/>
                <a:gd name="T9" fmla="*/ 2 h 57"/>
                <a:gd name="T10" fmla="*/ 4 w 136"/>
                <a:gd name="T11" fmla="*/ 32 h 57"/>
                <a:gd name="T12" fmla="*/ 7 w 136"/>
                <a:gd name="T13" fmla="*/ 56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" h="57">
                  <a:moveTo>
                    <a:pt x="7" y="56"/>
                  </a:moveTo>
                  <a:cubicBezTo>
                    <a:pt x="14" y="57"/>
                    <a:pt x="20" y="37"/>
                    <a:pt x="76" y="26"/>
                  </a:cubicBezTo>
                  <a:cubicBezTo>
                    <a:pt x="99" y="22"/>
                    <a:pt x="123" y="30"/>
                    <a:pt x="130" y="36"/>
                  </a:cubicBezTo>
                  <a:cubicBezTo>
                    <a:pt x="136" y="43"/>
                    <a:pt x="133" y="21"/>
                    <a:pt x="131" y="14"/>
                  </a:cubicBezTo>
                  <a:cubicBezTo>
                    <a:pt x="128" y="6"/>
                    <a:pt x="93" y="0"/>
                    <a:pt x="70" y="2"/>
                  </a:cubicBezTo>
                  <a:cubicBezTo>
                    <a:pt x="31" y="7"/>
                    <a:pt x="7" y="27"/>
                    <a:pt x="4" y="32"/>
                  </a:cubicBezTo>
                  <a:cubicBezTo>
                    <a:pt x="0" y="37"/>
                    <a:pt x="1" y="56"/>
                    <a:pt x="7" y="56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7" name="任意多边形 156"/>
            <p:cNvSpPr/>
            <p:nvPr/>
          </p:nvSpPr>
          <p:spPr bwMode="auto">
            <a:xfrm>
              <a:off x="5645151" y="2611438"/>
              <a:ext cx="26988" cy="39688"/>
            </a:xfrm>
            <a:custGeom>
              <a:avLst/>
              <a:gdLst>
                <a:gd name="T0" fmla="*/ 1 w 8"/>
                <a:gd name="T1" fmla="*/ 5 h 12"/>
                <a:gd name="T2" fmla="*/ 2 w 8"/>
                <a:gd name="T3" fmla="*/ 11 h 12"/>
                <a:gd name="T4" fmla="*/ 7 w 8"/>
                <a:gd name="T5" fmla="*/ 7 h 12"/>
                <a:gd name="T6" fmla="*/ 6 w 8"/>
                <a:gd name="T7" fmla="*/ 1 h 12"/>
                <a:gd name="T8" fmla="*/ 1 w 8"/>
                <a:gd name="T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2">
                  <a:moveTo>
                    <a:pt x="1" y="5"/>
                  </a:moveTo>
                  <a:cubicBezTo>
                    <a:pt x="0" y="8"/>
                    <a:pt x="0" y="11"/>
                    <a:pt x="2" y="11"/>
                  </a:cubicBezTo>
                  <a:cubicBezTo>
                    <a:pt x="4" y="12"/>
                    <a:pt x="6" y="10"/>
                    <a:pt x="7" y="7"/>
                  </a:cubicBezTo>
                  <a:cubicBezTo>
                    <a:pt x="8" y="4"/>
                    <a:pt x="7" y="2"/>
                    <a:pt x="6" y="1"/>
                  </a:cubicBezTo>
                  <a:cubicBezTo>
                    <a:pt x="4" y="0"/>
                    <a:pt x="1" y="2"/>
                    <a:pt x="1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8" name="任意多边形 157"/>
            <p:cNvSpPr/>
            <p:nvPr/>
          </p:nvSpPr>
          <p:spPr bwMode="auto">
            <a:xfrm>
              <a:off x="5748338" y="2651125"/>
              <a:ext cx="30163" cy="39688"/>
            </a:xfrm>
            <a:custGeom>
              <a:avLst/>
              <a:gdLst>
                <a:gd name="T0" fmla="*/ 1 w 9"/>
                <a:gd name="T1" fmla="*/ 5 h 12"/>
                <a:gd name="T2" fmla="*/ 3 w 9"/>
                <a:gd name="T3" fmla="*/ 11 h 12"/>
                <a:gd name="T4" fmla="*/ 8 w 9"/>
                <a:gd name="T5" fmla="*/ 7 h 12"/>
                <a:gd name="T6" fmla="*/ 6 w 9"/>
                <a:gd name="T7" fmla="*/ 1 h 12"/>
                <a:gd name="T8" fmla="*/ 1 w 9"/>
                <a:gd name="T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2">
                  <a:moveTo>
                    <a:pt x="1" y="5"/>
                  </a:moveTo>
                  <a:cubicBezTo>
                    <a:pt x="0" y="7"/>
                    <a:pt x="1" y="10"/>
                    <a:pt x="3" y="11"/>
                  </a:cubicBezTo>
                  <a:cubicBezTo>
                    <a:pt x="5" y="12"/>
                    <a:pt x="7" y="10"/>
                    <a:pt x="8" y="7"/>
                  </a:cubicBezTo>
                  <a:cubicBezTo>
                    <a:pt x="9" y="4"/>
                    <a:pt x="8" y="1"/>
                    <a:pt x="6" y="1"/>
                  </a:cubicBezTo>
                  <a:cubicBezTo>
                    <a:pt x="4" y="0"/>
                    <a:pt x="2" y="2"/>
                    <a:pt x="1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9" name="任意多边形 158"/>
            <p:cNvSpPr/>
            <p:nvPr/>
          </p:nvSpPr>
          <p:spPr bwMode="auto">
            <a:xfrm>
              <a:off x="5684838" y="2660650"/>
              <a:ext cx="39688" cy="88900"/>
            </a:xfrm>
            <a:custGeom>
              <a:avLst/>
              <a:gdLst>
                <a:gd name="T0" fmla="*/ 9 w 12"/>
                <a:gd name="T1" fmla="*/ 0 h 27"/>
                <a:gd name="T2" fmla="*/ 12 w 12"/>
                <a:gd name="T3" fmla="*/ 25 h 27"/>
                <a:gd name="T4" fmla="*/ 0 w 12"/>
                <a:gd name="T5" fmla="*/ 22 h 27"/>
                <a:gd name="T6" fmla="*/ 9 w 12"/>
                <a:gd name="T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7">
                  <a:moveTo>
                    <a:pt x="9" y="0"/>
                  </a:moveTo>
                  <a:cubicBezTo>
                    <a:pt x="9" y="0"/>
                    <a:pt x="9" y="16"/>
                    <a:pt x="12" y="25"/>
                  </a:cubicBezTo>
                  <a:cubicBezTo>
                    <a:pt x="7" y="27"/>
                    <a:pt x="0" y="22"/>
                    <a:pt x="0" y="22"/>
                  </a:cubicBezTo>
                  <a:lnTo>
                    <a:pt x="9" y="0"/>
                  </a:lnTo>
                  <a:close/>
                </a:path>
              </a:pathLst>
            </a:custGeom>
            <a:solidFill>
              <a:srgbClr val="A027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0" name="任意多边形 159"/>
            <p:cNvSpPr/>
            <p:nvPr/>
          </p:nvSpPr>
          <p:spPr bwMode="auto">
            <a:xfrm>
              <a:off x="5610226" y="2736850"/>
              <a:ext cx="65088" cy="52388"/>
            </a:xfrm>
            <a:custGeom>
              <a:avLst/>
              <a:gdLst>
                <a:gd name="T0" fmla="*/ 15 w 20"/>
                <a:gd name="T1" fmla="*/ 15 h 16"/>
                <a:gd name="T2" fmla="*/ 0 w 20"/>
                <a:gd name="T3" fmla="*/ 1 h 16"/>
                <a:gd name="T4" fmla="*/ 1 w 20"/>
                <a:gd name="T5" fmla="*/ 0 h 16"/>
                <a:gd name="T6" fmla="*/ 2 w 20"/>
                <a:gd name="T7" fmla="*/ 1 h 16"/>
                <a:gd name="T8" fmla="*/ 19 w 20"/>
                <a:gd name="T9" fmla="*/ 14 h 16"/>
                <a:gd name="T10" fmla="*/ 20 w 20"/>
                <a:gd name="T11" fmla="*/ 15 h 16"/>
                <a:gd name="T12" fmla="*/ 19 w 20"/>
                <a:gd name="T13" fmla="*/ 16 h 16"/>
                <a:gd name="T14" fmla="*/ 15 w 20"/>
                <a:gd name="T1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16">
                  <a:moveTo>
                    <a:pt x="15" y="15"/>
                  </a:moveTo>
                  <a:cubicBezTo>
                    <a:pt x="4" y="11"/>
                    <a:pt x="1" y="2"/>
                    <a:pt x="0" y="1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1" y="0"/>
                    <a:pt x="2" y="0"/>
                    <a:pt x="2" y="1"/>
                  </a:cubicBezTo>
                  <a:cubicBezTo>
                    <a:pt x="2" y="1"/>
                    <a:pt x="6" y="11"/>
                    <a:pt x="19" y="14"/>
                  </a:cubicBezTo>
                  <a:cubicBezTo>
                    <a:pt x="20" y="14"/>
                    <a:pt x="20" y="15"/>
                    <a:pt x="20" y="15"/>
                  </a:cubicBezTo>
                  <a:cubicBezTo>
                    <a:pt x="20" y="16"/>
                    <a:pt x="19" y="16"/>
                    <a:pt x="19" y="16"/>
                  </a:cubicBezTo>
                  <a:cubicBezTo>
                    <a:pt x="18" y="15"/>
                    <a:pt x="16" y="15"/>
                    <a:pt x="15" y="1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1" name="任意多边形 160"/>
            <p:cNvSpPr/>
            <p:nvPr/>
          </p:nvSpPr>
          <p:spPr bwMode="auto">
            <a:xfrm>
              <a:off x="5632451" y="2559050"/>
              <a:ext cx="63500" cy="30163"/>
            </a:xfrm>
            <a:custGeom>
              <a:avLst/>
              <a:gdLst>
                <a:gd name="T0" fmla="*/ 2 w 19"/>
                <a:gd name="T1" fmla="*/ 9 h 9"/>
                <a:gd name="T2" fmla="*/ 1 w 19"/>
                <a:gd name="T3" fmla="*/ 8 h 9"/>
                <a:gd name="T4" fmla="*/ 2 w 19"/>
                <a:gd name="T5" fmla="*/ 6 h 9"/>
                <a:gd name="T6" fmla="*/ 17 w 19"/>
                <a:gd name="T7" fmla="*/ 4 h 9"/>
                <a:gd name="T8" fmla="*/ 18 w 19"/>
                <a:gd name="T9" fmla="*/ 6 h 9"/>
                <a:gd name="T10" fmla="*/ 16 w 19"/>
                <a:gd name="T11" fmla="*/ 7 h 9"/>
                <a:gd name="T12" fmla="*/ 3 w 19"/>
                <a:gd name="T13" fmla="*/ 9 h 9"/>
                <a:gd name="T14" fmla="*/ 2 w 19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9">
                  <a:moveTo>
                    <a:pt x="2" y="9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0" y="7"/>
                    <a:pt x="1" y="6"/>
                    <a:pt x="2" y="6"/>
                  </a:cubicBezTo>
                  <a:cubicBezTo>
                    <a:pt x="10" y="0"/>
                    <a:pt x="17" y="4"/>
                    <a:pt x="17" y="4"/>
                  </a:cubicBezTo>
                  <a:cubicBezTo>
                    <a:pt x="18" y="4"/>
                    <a:pt x="19" y="5"/>
                    <a:pt x="18" y="6"/>
                  </a:cubicBezTo>
                  <a:cubicBezTo>
                    <a:pt x="18" y="7"/>
                    <a:pt x="17" y="8"/>
                    <a:pt x="16" y="7"/>
                  </a:cubicBezTo>
                  <a:cubicBezTo>
                    <a:pt x="15" y="7"/>
                    <a:pt x="10" y="5"/>
                    <a:pt x="3" y="9"/>
                  </a:cubicBezTo>
                  <a:cubicBezTo>
                    <a:pt x="3" y="9"/>
                    <a:pt x="2" y="9"/>
                    <a:pt x="2" y="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2" name="任意多边形 161"/>
            <p:cNvSpPr/>
            <p:nvPr/>
          </p:nvSpPr>
          <p:spPr bwMode="auto">
            <a:xfrm>
              <a:off x="5770563" y="2598738"/>
              <a:ext cx="42863" cy="49213"/>
            </a:xfrm>
            <a:custGeom>
              <a:avLst/>
              <a:gdLst>
                <a:gd name="T0" fmla="*/ 0 w 13"/>
                <a:gd name="T1" fmla="*/ 2 h 15"/>
                <a:gd name="T2" fmla="*/ 1 w 13"/>
                <a:gd name="T3" fmla="*/ 1 h 15"/>
                <a:gd name="T4" fmla="*/ 3 w 13"/>
                <a:gd name="T5" fmla="*/ 0 h 15"/>
                <a:gd name="T6" fmla="*/ 13 w 13"/>
                <a:gd name="T7" fmla="*/ 12 h 15"/>
                <a:gd name="T8" fmla="*/ 12 w 13"/>
                <a:gd name="T9" fmla="*/ 14 h 15"/>
                <a:gd name="T10" fmla="*/ 10 w 13"/>
                <a:gd name="T11" fmla="*/ 13 h 15"/>
                <a:gd name="T12" fmla="*/ 2 w 13"/>
                <a:gd name="T13" fmla="*/ 4 h 15"/>
                <a:gd name="T14" fmla="*/ 0 w 13"/>
                <a:gd name="T15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5">
                  <a:moveTo>
                    <a:pt x="0" y="2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2" y="4"/>
                    <a:pt x="13" y="12"/>
                    <a:pt x="13" y="12"/>
                  </a:cubicBezTo>
                  <a:cubicBezTo>
                    <a:pt x="13" y="13"/>
                    <a:pt x="13" y="14"/>
                    <a:pt x="12" y="14"/>
                  </a:cubicBezTo>
                  <a:cubicBezTo>
                    <a:pt x="11" y="15"/>
                    <a:pt x="10" y="14"/>
                    <a:pt x="10" y="13"/>
                  </a:cubicBezTo>
                  <a:cubicBezTo>
                    <a:pt x="10" y="13"/>
                    <a:pt x="8" y="6"/>
                    <a:pt x="2" y="4"/>
                  </a:cubicBezTo>
                  <a:cubicBezTo>
                    <a:pt x="1" y="3"/>
                    <a:pt x="1" y="3"/>
                    <a:pt x="0" y="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3" name="任意多边形 162"/>
            <p:cNvSpPr/>
            <p:nvPr/>
          </p:nvSpPr>
          <p:spPr bwMode="auto">
            <a:xfrm>
              <a:off x="4922838" y="2960688"/>
              <a:ext cx="669925" cy="854075"/>
            </a:xfrm>
            <a:custGeom>
              <a:avLst/>
              <a:gdLst>
                <a:gd name="T0" fmla="*/ 108 w 203"/>
                <a:gd name="T1" fmla="*/ 28 h 259"/>
                <a:gd name="T2" fmla="*/ 97 w 203"/>
                <a:gd name="T3" fmla="*/ 47 h 259"/>
                <a:gd name="T4" fmla="*/ 87 w 203"/>
                <a:gd name="T5" fmla="*/ 67 h 259"/>
                <a:gd name="T6" fmla="*/ 69 w 203"/>
                <a:gd name="T7" fmla="*/ 107 h 259"/>
                <a:gd name="T8" fmla="*/ 55 w 203"/>
                <a:gd name="T9" fmla="*/ 147 h 259"/>
                <a:gd name="T10" fmla="*/ 52 w 203"/>
                <a:gd name="T11" fmla="*/ 165 h 259"/>
                <a:gd name="T12" fmla="*/ 52 w 203"/>
                <a:gd name="T13" fmla="*/ 175 h 259"/>
                <a:gd name="T14" fmla="*/ 59 w 203"/>
                <a:gd name="T15" fmla="*/ 183 h 259"/>
                <a:gd name="T16" fmla="*/ 75 w 203"/>
                <a:gd name="T17" fmla="*/ 193 h 259"/>
                <a:gd name="T18" fmla="*/ 115 w 203"/>
                <a:gd name="T19" fmla="*/ 209 h 259"/>
                <a:gd name="T20" fmla="*/ 158 w 203"/>
                <a:gd name="T21" fmla="*/ 221 h 259"/>
                <a:gd name="T22" fmla="*/ 203 w 203"/>
                <a:gd name="T23" fmla="*/ 231 h 259"/>
                <a:gd name="T24" fmla="*/ 200 w 203"/>
                <a:gd name="T25" fmla="*/ 259 h 259"/>
                <a:gd name="T26" fmla="*/ 105 w 203"/>
                <a:gd name="T27" fmla="*/ 249 h 259"/>
                <a:gd name="T28" fmla="*/ 57 w 203"/>
                <a:gd name="T29" fmla="*/ 236 h 259"/>
                <a:gd name="T30" fmla="*/ 32 w 203"/>
                <a:gd name="T31" fmla="*/ 223 h 259"/>
                <a:gd name="T32" fmla="*/ 7 w 203"/>
                <a:gd name="T33" fmla="*/ 199 h 259"/>
                <a:gd name="T34" fmla="*/ 3 w 203"/>
                <a:gd name="T35" fmla="*/ 188 h 259"/>
                <a:gd name="T36" fmla="*/ 2 w 203"/>
                <a:gd name="T37" fmla="*/ 185 h 259"/>
                <a:gd name="T38" fmla="*/ 2 w 203"/>
                <a:gd name="T39" fmla="*/ 183 h 259"/>
                <a:gd name="T40" fmla="*/ 1 w 203"/>
                <a:gd name="T41" fmla="*/ 179 h 259"/>
                <a:gd name="T42" fmla="*/ 0 w 203"/>
                <a:gd name="T43" fmla="*/ 163 h 259"/>
                <a:gd name="T44" fmla="*/ 3 w 203"/>
                <a:gd name="T45" fmla="*/ 136 h 259"/>
                <a:gd name="T46" fmla="*/ 17 w 203"/>
                <a:gd name="T47" fmla="*/ 87 h 259"/>
                <a:gd name="T48" fmla="*/ 37 w 203"/>
                <a:gd name="T49" fmla="*/ 42 h 259"/>
                <a:gd name="T50" fmla="*/ 47 w 203"/>
                <a:gd name="T51" fmla="*/ 21 h 259"/>
                <a:gd name="T52" fmla="*/ 59 w 203"/>
                <a:gd name="T53" fmla="*/ 0 h 259"/>
                <a:gd name="T54" fmla="*/ 108 w 203"/>
                <a:gd name="T55" fmla="*/ 2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03" h="259">
                  <a:moveTo>
                    <a:pt x="108" y="28"/>
                  </a:moveTo>
                  <a:cubicBezTo>
                    <a:pt x="104" y="34"/>
                    <a:pt x="101" y="41"/>
                    <a:pt x="97" y="47"/>
                  </a:cubicBezTo>
                  <a:cubicBezTo>
                    <a:pt x="94" y="54"/>
                    <a:pt x="91" y="60"/>
                    <a:pt x="87" y="67"/>
                  </a:cubicBezTo>
                  <a:cubicBezTo>
                    <a:pt x="81" y="80"/>
                    <a:pt x="74" y="94"/>
                    <a:pt x="69" y="107"/>
                  </a:cubicBezTo>
                  <a:cubicBezTo>
                    <a:pt x="63" y="121"/>
                    <a:pt x="58" y="134"/>
                    <a:pt x="55" y="147"/>
                  </a:cubicBezTo>
                  <a:cubicBezTo>
                    <a:pt x="53" y="154"/>
                    <a:pt x="52" y="160"/>
                    <a:pt x="52" y="165"/>
                  </a:cubicBezTo>
                  <a:cubicBezTo>
                    <a:pt x="51" y="171"/>
                    <a:pt x="52" y="176"/>
                    <a:pt x="52" y="175"/>
                  </a:cubicBezTo>
                  <a:cubicBezTo>
                    <a:pt x="52" y="176"/>
                    <a:pt x="55" y="180"/>
                    <a:pt x="59" y="183"/>
                  </a:cubicBezTo>
                  <a:cubicBezTo>
                    <a:pt x="64" y="187"/>
                    <a:pt x="69" y="190"/>
                    <a:pt x="75" y="193"/>
                  </a:cubicBezTo>
                  <a:cubicBezTo>
                    <a:pt x="87" y="199"/>
                    <a:pt x="101" y="204"/>
                    <a:pt x="115" y="209"/>
                  </a:cubicBezTo>
                  <a:cubicBezTo>
                    <a:pt x="129" y="213"/>
                    <a:pt x="144" y="217"/>
                    <a:pt x="158" y="221"/>
                  </a:cubicBezTo>
                  <a:cubicBezTo>
                    <a:pt x="173" y="225"/>
                    <a:pt x="188" y="228"/>
                    <a:pt x="203" y="231"/>
                  </a:cubicBezTo>
                  <a:cubicBezTo>
                    <a:pt x="200" y="259"/>
                    <a:pt x="200" y="259"/>
                    <a:pt x="200" y="259"/>
                  </a:cubicBezTo>
                  <a:cubicBezTo>
                    <a:pt x="168" y="258"/>
                    <a:pt x="137" y="255"/>
                    <a:pt x="105" y="249"/>
                  </a:cubicBezTo>
                  <a:cubicBezTo>
                    <a:pt x="89" y="246"/>
                    <a:pt x="73" y="242"/>
                    <a:pt x="57" y="236"/>
                  </a:cubicBezTo>
                  <a:cubicBezTo>
                    <a:pt x="49" y="232"/>
                    <a:pt x="40" y="229"/>
                    <a:pt x="32" y="223"/>
                  </a:cubicBezTo>
                  <a:cubicBezTo>
                    <a:pt x="24" y="218"/>
                    <a:pt x="15" y="211"/>
                    <a:pt x="7" y="199"/>
                  </a:cubicBezTo>
                  <a:cubicBezTo>
                    <a:pt x="6" y="196"/>
                    <a:pt x="4" y="192"/>
                    <a:pt x="3" y="188"/>
                  </a:cubicBezTo>
                  <a:cubicBezTo>
                    <a:pt x="3" y="187"/>
                    <a:pt x="2" y="186"/>
                    <a:pt x="2" y="185"/>
                  </a:cubicBezTo>
                  <a:cubicBezTo>
                    <a:pt x="2" y="183"/>
                    <a:pt x="2" y="183"/>
                    <a:pt x="2" y="183"/>
                  </a:cubicBezTo>
                  <a:cubicBezTo>
                    <a:pt x="1" y="182"/>
                    <a:pt x="1" y="180"/>
                    <a:pt x="1" y="179"/>
                  </a:cubicBezTo>
                  <a:cubicBezTo>
                    <a:pt x="0" y="173"/>
                    <a:pt x="0" y="168"/>
                    <a:pt x="0" y="163"/>
                  </a:cubicBezTo>
                  <a:cubicBezTo>
                    <a:pt x="0" y="153"/>
                    <a:pt x="1" y="144"/>
                    <a:pt x="3" y="136"/>
                  </a:cubicBezTo>
                  <a:cubicBezTo>
                    <a:pt x="7" y="118"/>
                    <a:pt x="12" y="102"/>
                    <a:pt x="17" y="87"/>
                  </a:cubicBezTo>
                  <a:cubicBezTo>
                    <a:pt x="23" y="72"/>
                    <a:pt x="30" y="57"/>
                    <a:pt x="37" y="42"/>
                  </a:cubicBezTo>
                  <a:cubicBezTo>
                    <a:pt x="40" y="35"/>
                    <a:pt x="44" y="28"/>
                    <a:pt x="47" y="21"/>
                  </a:cubicBezTo>
                  <a:cubicBezTo>
                    <a:pt x="51" y="14"/>
                    <a:pt x="55" y="7"/>
                    <a:pt x="59" y="0"/>
                  </a:cubicBezTo>
                  <a:lnTo>
                    <a:pt x="108" y="28"/>
                  </a:lnTo>
                  <a:close/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4" name="任意多边形 163"/>
            <p:cNvSpPr/>
            <p:nvPr/>
          </p:nvSpPr>
          <p:spPr bwMode="auto">
            <a:xfrm>
              <a:off x="4926013" y="2855913"/>
              <a:ext cx="436563" cy="506413"/>
            </a:xfrm>
            <a:custGeom>
              <a:avLst/>
              <a:gdLst>
                <a:gd name="T0" fmla="*/ 77 w 132"/>
                <a:gd name="T1" fmla="*/ 6 h 154"/>
                <a:gd name="T2" fmla="*/ 115 w 132"/>
                <a:gd name="T3" fmla="*/ 80 h 154"/>
                <a:gd name="T4" fmla="*/ 81 w 132"/>
                <a:gd name="T5" fmla="*/ 154 h 154"/>
                <a:gd name="T6" fmla="*/ 0 w 132"/>
                <a:gd name="T7" fmla="*/ 119 h 154"/>
                <a:gd name="T8" fmla="*/ 77 w 132"/>
                <a:gd name="T9" fmla="*/ 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2" h="154">
                  <a:moveTo>
                    <a:pt x="77" y="6"/>
                  </a:moveTo>
                  <a:cubicBezTo>
                    <a:pt x="114" y="0"/>
                    <a:pt x="132" y="32"/>
                    <a:pt x="115" y="80"/>
                  </a:cubicBezTo>
                  <a:cubicBezTo>
                    <a:pt x="97" y="128"/>
                    <a:pt x="81" y="154"/>
                    <a:pt x="81" y="154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15" y="72"/>
                    <a:pt x="38" y="11"/>
                    <a:pt x="77" y="6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5" name="任意多边形 164"/>
            <p:cNvSpPr/>
            <p:nvPr/>
          </p:nvSpPr>
          <p:spPr bwMode="auto">
            <a:xfrm>
              <a:off x="5457826" y="3711575"/>
              <a:ext cx="217488" cy="131763"/>
            </a:xfrm>
            <a:custGeom>
              <a:avLst/>
              <a:gdLst>
                <a:gd name="T0" fmla="*/ 44 w 66"/>
                <a:gd name="T1" fmla="*/ 4 h 40"/>
                <a:gd name="T2" fmla="*/ 66 w 66"/>
                <a:gd name="T3" fmla="*/ 11 h 40"/>
                <a:gd name="T4" fmla="*/ 37 w 66"/>
                <a:gd name="T5" fmla="*/ 40 h 40"/>
                <a:gd name="T6" fmla="*/ 8 w 66"/>
                <a:gd name="T7" fmla="*/ 11 h 40"/>
                <a:gd name="T8" fmla="*/ 17 w 66"/>
                <a:gd name="T9" fmla="*/ 6 h 40"/>
                <a:gd name="T10" fmla="*/ 44 w 66"/>
                <a:gd name="T11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40">
                  <a:moveTo>
                    <a:pt x="44" y="4"/>
                  </a:moveTo>
                  <a:cubicBezTo>
                    <a:pt x="66" y="11"/>
                    <a:pt x="66" y="11"/>
                    <a:pt x="66" y="11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7" y="40"/>
                    <a:pt x="0" y="27"/>
                    <a:pt x="8" y="11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25" y="1"/>
                    <a:pt x="35" y="0"/>
                    <a:pt x="44" y="4"/>
                  </a:cubicBezTo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6" name="任意多边形 165"/>
            <p:cNvSpPr/>
            <p:nvPr/>
          </p:nvSpPr>
          <p:spPr bwMode="auto">
            <a:xfrm>
              <a:off x="5580063" y="3748088"/>
              <a:ext cx="184150" cy="115888"/>
            </a:xfrm>
            <a:custGeom>
              <a:avLst/>
              <a:gdLst>
                <a:gd name="T0" fmla="*/ 116 w 116"/>
                <a:gd name="T1" fmla="*/ 31 h 73"/>
                <a:gd name="T2" fmla="*/ 46 w 116"/>
                <a:gd name="T3" fmla="*/ 73 h 73"/>
                <a:gd name="T4" fmla="*/ 0 w 116"/>
                <a:gd name="T5" fmla="*/ 60 h 73"/>
                <a:gd name="T6" fmla="*/ 60 w 116"/>
                <a:gd name="T7" fmla="*/ 0 h 73"/>
                <a:gd name="T8" fmla="*/ 116 w 116"/>
                <a:gd name="T9" fmla="*/ 31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73">
                  <a:moveTo>
                    <a:pt x="116" y="31"/>
                  </a:moveTo>
                  <a:lnTo>
                    <a:pt x="46" y="73"/>
                  </a:lnTo>
                  <a:lnTo>
                    <a:pt x="0" y="60"/>
                  </a:lnTo>
                  <a:lnTo>
                    <a:pt x="60" y="0"/>
                  </a:lnTo>
                  <a:lnTo>
                    <a:pt x="116" y="31"/>
                  </a:lnTo>
                  <a:close/>
                </a:path>
              </a:pathLst>
            </a:custGeom>
            <a:solidFill>
              <a:srgbClr val="B55B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7" name="任意多边形 166"/>
            <p:cNvSpPr/>
            <p:nvPr/>
          </p:nvSpPr>
          <p:spPr bwMode="auto">
            <a:xfrm>
              <a:off x="5580063" y="3748088"/>
              <a:ext cx="184150" cy="115888"/>
            </a:xfrm>
            <a:custGeom>
              <a:avLst/>
              <a:gdLst>
                <a:gd name="T0" fmla="*/ 116 w 116"/>
                <a:gd name="T1" fmla="*/ 31 h 73"/>
                <a:gd name="T2" fmla="*/ 46 w 116"/>
                <a:gd name="T3" fmla="*/ 73 h 73"/>
                <a:gd name="T4" fmla="*/ 0 w 116"/>
                <a:gd name="T5" fmla="*/ 60 h 73"/>
                <a:gd name="T6" fmla="*/ 60 w 116"/>
                <a:gd name="T7" fmla="*/ 0 h 73"/>
                <a:gd name="T8" fmla="*/ 116 w 116"/>
                <a:gd name="T9" fmla="*/ 31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73">
                  <a:moveTo>
                    <a:pt x="116" y="31"/>
                  </a:moveTo>
                  <a:lnTo>
                    <a:pt x="46" y="73"/>
                  </a:lnTo>
                  <a:lnTo>
                    <a:pt x="0" y="60"/>
                  </a:lnTo>
                  <a:lnTo>
                    <a:pt x="60" y="0"/>
                  </a:lnTo>
                  <a:lnTo>
                    <a:pt x="116" y="3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8" name="矩形 167"/>
            <p:cNvSpPr/>
            <p:nvPr/>
          </p:nvSpPr>
          <p:spPr bwMode="auto">
            <a:xfrm>
              <a:off x="4762501" y="3870325"/>
              <a:ext cx="2736850" cy="88900"/>
            </a:xfrm>
            <a:prstGeom prst="rect">
              <a:avLst/>
            </a:pr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9" name="矩形 168"/>
            <p:cNvSpPr/>
            <p:nvPr/>
          </p:nvSpPr>
          <p:spPr bwMode="auto">
            <a:xfrm>
              <a:off x="4762501" y="3870325"/>
              <a:ext cx="2736850" cy="88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0" name="任意多边形 169"/>
            <p:cNvSpPr/>
            <p:nvPr/>
          </p:nvSpPr>
          <p:spPr bwMode="auto">
            <a:xfrm>
              <a:off x="4762501" y="3870325"/>
              <a:ext cx="2736850" cy="88900"/>
            </a:xfrm>
            <a:custGeom>
              <a:avLst/>
              <a:gdLst>
                <a:gd name="T0" fmla="*/ 1724 w 1724"/>
                <a:gd name="T1" fmla="*/ 0 h 56"/>
                <a:gd name="T2" fmla="*/ 1336 w 1724"/>
                <a:gd name="T3" fmla="*/ 0 h 56"/>
                <a:gd name="T4" fmla="*/ 1317 w 1724"/>
                <a:gd name="T5" fmla="*/ 0 h 56"/>
                <a:gd name="T6" fmla="*/ 947 w 1724"/>
                <a:gd name="T7" fmla="*/ 0 h 56"/>
                <a:gd name="T8" fmla="*/ 903 w 1724"/>
                <a:gd name="T9" fmla="*/ 0 h 56"/>
                <a:gd name="T10" fmla="*/ 781 w 1724"/>
                <a:gd name="T11" fmla="*/ 0 h 56"/>
                <a:gd name="T12" fmla="*/ 779 w 1724"/>
                <a:gd name="T13" fmla="*/ 0 h 56"/>
                <a:gd name="T14" fmla="*/ 342 w 1724"/>
                <a:gd name="T15" fmla="*/ 0 h 56"/>
                <a:gd name="T16" fmla="*/ 342 w 1724"/>
                <a:gd name="T17" fmla="*/ 56 h 56"/>
                <a:gd name="T18" fmla="*/ 0 w 1724"/>
                <a:gd name="T19" fmla="*/ 56 h 56"/>
                <a:gd name="T20" fmla="*/ 0 w 1724"/>
                <a:gd name="T21" fmla="*/ 0 h 56"/>
                <a:gd name="T22" fmla="*/ 0 w 1724"/>
                <a:gd name="T23" fmla="*/ 56 h 56"/>
                <a:gd name="T24" fmla="*/ 1724 w 1724"/>
                <a:gd name="T25" fmla="*/ 56 h 56"/>
                <a:gd name="T26" fmla="*/ 1724 w 1724"/>
                <a:gd name="T27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24" h="56">
                  <a:moveTo>
                    <a:pt x="1724" y="0"/>
                  </a:moveTo>
                  <a:lnTo>
                    <a:pt x="1336" y="0"/>
                  </a:lnTo>
                  <a:lnTo>
                    <a:pt x="1317" y="0"/>
                  </a:lnTo>
                  <a:lnTo>
                    <a:pt x="947" y="0"/>
                  </a:lnTo>
                  <a:lnTo>
                    <a:pt x="903" y="0"/>
                  </a:lnTo>
                  <a:lnTo>
                    <a:pt x="781" y="0"/>
                  </a:lnTo>
                  <a:lnTo>
                    <a:pt x="779" y="0"/>
                  </a:lnTo>
                  <a:lnTo>
                    <a:pt x="342" y="0"/>
                  </a:lnTo>
                  <a:lnTo>
                    <a:pt x="342" y="56"/>
                  </a:lnTo>
                  <a:lnTo>
                    <a:pt x="0" y="56"/>
                  </a:lnTo>
                  <a:lnTo>
                    <a:pt x="0" y="0"/>
                  </a:lnTo>
                  <a:lnTo>
                    <a:pt x="0" y="56"/>
                  </a:lnTo>
                  <a:lnTo>
                    <a:pt x="1724" y="56"/>
                  </a:lnTo>
                  <a:lnTo>
                    <a:pt x="1724" y="0"/>
                  </a:lnTo>
                  <a:close/>
                </a:path>
              </a:pathLst>
            </a:custGeom>
            <a:solidFill>
              <a:srgbClr val="B3C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1" name="任意多边形 170"/>
            <p:cNvSpPr/>
            <p:nvPr/>
          </p:nvSpPr>
          <p:spPr bwMode="auto">
            <a:xfrm>
              <a:off x="4762501" y="3870325"/>
              <a:ext cx="2736850" cy="88900"/>
            </a:xfrm>
            <a:custGeom>
              <a:avLst/>
              <a:gdLst>
                <a:gd name="T0" fmla="*/ 1724 w 1724"/>
                <a:gd name="T1" fmla="*/ 0 h 56"/>
                <a:gd name="T2" fmla="*/ 1336 w 1724"/>
                <a:gd name="T3" fmla="*/ 0 h 56"/>
                <a:gd name="T4" fmla="*/ 1317 w 1724"/>
                <a:gd name="T5" fmla="*/ 0 h 56"/>
                <a:gd name="T6" fmla="*/ 947 w 1724"/>
                <a:gd name="T7" fmla="*/ 0 h 56"/>
                <a:gd name="T8" fmla="*/ 903 w 1724"/>
                <a:gd name="T9" fmla="*/ 0 h 56"/>
                <a:gd name="T10" fmla="*/ 781 w 1724"/>
                <a:gd name="T11" fmla="*/ 0 h 56"/>
                <a:gd name="T12" fmla="*/ 779 w 1724"/>
                <a:gd name="T13" fmla="*/ 0 h 56"/>
                <a:gd name="T14" fmla="*/ 342 w 1724"/>
                <a:gd name="T15" fmla="*/ 0 h 56"/>
                <a:gd name="T16" fmla="*/ 342 w 1724"/>
                <a:gd name="T17" fmla="*/ 56 h 56"/>
                <a:gd name="T18" fmla="*/ 0 w 1724"/>
                <a:gd name="T19" fmla="*/ 56 h 56"/>
                <a:gd name="T20" fmla="*/ 0 w 1724"/>
                <a:gd name="T21" fmla="*/ 0 h 56"/>
                <a:gd name="T22" fmla="*/ 0 w 1724"/>
                <a:gd name="T23" fmla="*/ 56 h 56"/>
                <a:gd name="T24" fmla="*/ 1724 w 1724"/>
                <a:gd name="T25" fmla="*/ 56 h 56"/>
                <a:gd name="T26" fmla="*/ 1724 w 1724"/>
                <a:gd name="T27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24" h="56">
                  <a:moveTo>
                    <a:pt x="1724" y="0"/>
                  </a:moveTo>
                  <a:lnTo>
                    <a:pt x="1336" y="0"/>
                  </a:lnTo>
                  <a:lnTo>
                    <a:pt x="1317" y="0"/>
                  </a:lnTo>
                  <a:lnTo>
                    <a:pt x="947" y="0"/>
                  </a:lnTo>
                  <a:lnTo>
                    <a:pt x="903" y="0"/>
                  </a:lnTo>
                  <a:lnTo>
                    <a:pt x="781" y="0"/>
                  </a:lnTo>
                  <a:lnTo>
                    <a:pt x="779" y="0"/>
                  </a:lnTo>
                  <a:lnTo>
                    <a:pt x="342" y="0"/>
                  </a:lnTo>
                  <a:lnTo>
                    <a:pt x="342" y="56"/>
                  </a:lnTo>
                  <a:lnTo>
                    <a:pt x="0" y="56"/>
                  </a:lnTo>
                  <a:lnTo>
                    <a:pt x="0" y="0"/>
                  </a:lnTo>
                  <a:lnTo>
                    <a:pt x="0" y="56"/>
                  </a:lnTo>
                  <a:lnTo>
                    <a:pt x="1724" y="56"/>
                  </a:lnTo>
                  <a:lnTo>
                    <a:pt x="17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2" name="矩形 171"/>
            <p:cNvSpPr/>
            <p:nvPr/>
          </p:nvSpPr>
          <p:spPr bwMode="auto">
            <a:xfrm>
              <a:off x="4762501" y="3870325"/>
              <a:ext cx="542925" cy="88900"/>
            </a:xfrm>
            <a:prstGeom prst="rect">
              <a:avLst/>
            </a:prstGeom>
            <a:solidFill>
              <a:srgbClr val="79A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3" name="矩形 172"/>
            <p:cNvSpPr/>
            <p:nvPr/>
          </p:nvSpPr>
          <p:spPr bwMode="auto">
            <a:xfrm>
              <a:off x="4762501" y="3870325"/>
              <a:ext cx="542925" cy="88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4" name="任意多边形 173"/>
            <p:cNvSpPr/>
            <p:nvPr/>
          </p:nvSpPr>
          <p:spPr bwMode="auto">
            <a:xfrm>
              <a:off x="5438776" y="3840163"/>
              <a:ext cx="1347788" cy="30163"/>
            </a:xfrm>
            <a:custGeom>
              <a:avLst/>
              <a:gdLst>
                <a:gd name="T0" fmla="*/ 400 w 409"/>
                <a:gd name="T1" fmla="*/ 0 h 9"/>
                <a:gd name="T2" fmla="*/ 9 w 409"/>
                <a:gd name="T3" fmla="*/ 0 h 9"/>
                <a:gd name="T4" fmla="*/ 0 w 409"/>
                <a:gd name="T5" fmla="*/ 9 h 9"/>
                <a:gd name="T6" fmla="*/ 409 w 409"/>
                <a:gd name="T7" fmla="*/ 9 h 9"/>
                <a:gd name="T8" fmla="*/ 400 w 409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9" h="9">
                  <a:moveTo>
                    <a:pt x="40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409" y="9"/>
                    <a:pt x="409" y="9"/>
                    <a:pt x="409" y="9"/>
                  </a:cubicBezTo>
                  <a:cubicBezTo>
                    <a:pt x="409" y="4"/>
                    <a:pt x="405" y="0"/>
                    <a:pt x="400" y="0"/>
                  </a:cubicBezTo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5" name="任意多边形 174"/>
            <p:cNvSpPr/>
            <p:nvPr/>
          </p:nvSpPr>
          <p:spPr bwMode="auto">
            <a:xfrm>
              <a:off x="5873751" y="3238500"/>
              <a:ext cx="1071563" cy="579438"/>
            </a:xfrm>
            <a:custGeom>
              <a:avLst/>
              <a:gdLst>
                <a:gd name="T0" fmla="*/ 320 w 325"/>
                <a:gd name="T1" fmla="*/ 0 h 176"/>
                <a:gd name="T2" fmla="*/ 53 w 325"/>
                <a:gd name="T3" fmla="*/ 0 h 176"/>
                <a:gd name="T4" fmla="*/ 45 w 325"/>
                <a:gd name="T5" fmla="*/ 6 h 176"/>
                <a:gd name="T6" fmla="*/ 1 w 325"/>
                <a:gd name="T7" fmla="*/ 171 h 176"/>
                <a:gd name="T8" fmla="*/ 6 w 325"/>
                <a:gd name="T9" fmla="*/ 176 h 176"/>
                <a:gd name="T10" fmla="*/ 273 w 325"/>
                <a:gd name="T11" fmla="*/ 176 h 176"/>
                <a:gd name="T12" fmla="*/ 281 w 325"/>
                <a:gd name="T13" fmla="*/ 171 h 176"/>
                <a:gd name="T14" fmla="*/ 324 w 325"/>
                <a:gd name="T15" fmla="*/ 6 h 176"/>
                <a:gd name="T16" fmla="*/ 320 w 325"/>
                <a:gd name="T17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5" h="176">
                  <a:moveTo>
                    <a:pt x="320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49" y="0"/>
                    <a:pt x="46" y="2"/>
                    <a:pt x="45" y="6"/>
                  </a:cubicBezTo>
                  <a:cubicBezTo>
                    <a:pt x="1" y="171"/>
                    <a:pt x="1" y="171"/>
                    <a:pt x="1" y="171"/>
                  </a:cubicBezTo>
                  <a:cubicBezTo>
                    <a:pt x="0" y="174"/>
                    <a:pt x="2" y="176"/>
                    <a:pt x="6" y="176"/>
                  </a:cubicBezTo>
                  <a:cubicBezTo>
                    <a:pt x="273" y="176"/>
                    <a:pt x="273" y="176"/>
                    <a:pt x="273" y="176"/>
                  </a:cubicBezTo>
                  <a:cubicBezTo>
                    <a:pt x="276" y="176"/>
                    <a:pt x="280" y="174"/>
                    <a:pt x="281" y="171"/>
                  </a:cubicBezTo>
                  <a:cubicBezTo>
                    <a:pt x="324" y="6"/>
                    <a:pt x="324" y="6"/>
                    <a:pt x="324" y="6"/>
                  </a:cubicBezTo>
                  <a:cubicBezTo>
                    <a:pt x="325" y="2"/>
                    <a:pt x="323" y="0"/>
                    <a:pt x="320" y="0"/>
                  </a:cubicBezTo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6" name="任意多边形 175"/>
            <p:cNvSpPr/>
            <p:nvPr/>
          </p:nvSpPr>
          <p:spPr bwMode="auto">
            <a:xfrm>
              <a:off x="5876926" y="3238500"/>
              <a:ext cx="171450" cy="579438"/>
            </a:xfrm>
            <a:custGeom>
              <a:avLst/>
              <a:gdLst>
                <a:gd name="T0" fmla="*/ 52 w 52"/>
                <a:gd name="T1" fmla="*/ 0 h 176"/>
                <a:gd name="T2" fmla="*/ 44 w 52"/>
                <a:gd name="T3" fmla="*/ 6 h 176"/>
                <a:gd name="T4" fmla="*/ 38 w 52"/>
                <a:gd name="T5" fmla="*/ 29 h 176"/>
                <a:gd name="T6" fmla="*/ 37 w 52"/>
                <a:gd name="T7" fmla="*/ 33 h 176"/>
                <a:gd name="T8" fmla="*/ 12 w 52"/>
                <a:gd name="T9" fmla="*/ 127 h 176"/>
                <a:gd name="T10" fmla="*/ 0 w 52"/>
                <a:gd name="T11" fmla="*/ 171 h 176"/>
                <a:gd name="T12" fmla="*/ 0 w 52"/>
                <a:gd name="T13" fmla="*/ 172 h 176"/>
                <a:gd name="T14" fmla="*/ 0 w 52"/>
                <a:gd name="T15" fmla="*/ 172 h 176"/>
                <a:gd name="T16" fmla="*/ 5 w 52"/>
                <a:gd name="T17" fmla="*/ 176 h 176"/>
                <a:gd name="T18" fmla="*/ 52 w 52"/>
                <a:gd name="T19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176">
                  <a:moveTo>
                    <a:pt x="52" y="0"/>
                  </a:moveTo>
                  <a:cubicBezTo>
                    <a:pt x="48" y="0"/>
                    <a:pt x="45" y="2"/>
                    <a:pt x="44" y="6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12" y="127"/>
                    <a:pt x="12" y="127"/>
                    <a:pt x="12" y="127"/>
                  </a:cubicBezTo>
                  <a:cubicBezTo>
                    <a:pt x="0" y="171"/>
                    <a:pt x="0" y="171"/>
                    <a:pt x="0" y="171"/>
                  </a:cubicBezTo>
                  <a:cubicBezTo>
                    <a:pt x="0" y="171"/>
                    <a:pt x="0" y="171"/>
                    <a:pt x="0" y="172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0" y="175"/>
                    <a:pt x="2" y="176"/>
                    <a:pt x="5" y="176"/>
                  </a:cubicBezTo>
                  <a:cubicBezTo>
                    <a:pt x="52" y="0"/>
                    <a:pt x="52" y="0"/>
                    <a:pt x="52" y="0"/>
                  </a:cubicBezTo>
                </a:path>
              </a:pathLst>
            </a:custGeom>
            <a:solidFill>
              <a:srgbClr val="3362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7" name="任意多边形 176"/>
            <p:cNvSpPr/>
            <p:nvPr/>
          </p:nvSpPr>
          <p:spPr bwMode="auto">
            <a:xfrm>
              <a:off x="5438776" y="3840163"/>
              <a:ext cx="434975" cy="30163"/>
            </a:xfrm>
            <a:custGeom>
              <a:avLst/>
              <a:gdLst>
                <a:gd name="T0" fmla="*/ 123 w 132"/>
                <a:gd name="T1" fmla="*/ 0 h 9"/>
                <a:gd name="T2" fmla="*/ 77 w 132"/>
                <a:gd name="T3" fmla="*/ 0 h 9"/>
                <a:gd name="T4" fmla="*/ 43 w 132"/>
                <a:gd name="T5" fmla="*/ 0 h 9"/>
                <a:gd name="T6" fmla="*/ 9 w 132"/>
                <a:gd name="T7" fmla="*/ 0 h 9"/>
                <a:gd name="T8" fmla="*/ 2 w 132"/>
                <a:gd name="T9" fmla="*/ 4 h 9"/>
                <a:gd name="T10" fmla="*/ 1 w 132"/>
                <a:gd name="T11" fmla="*/ 6 h 9"/>
                <a:gd name="T12" fmla="*/ 0 w 132"/>
                <a:gd name="T13" fmla="*/ 9 h 9"/>
                <a:gd name="T14" fmla="*/ 132 w 132"/>
                <a:gd name="T15" fmla="*/ 9 h 9"/>
                <a:gd name="T16" fmla="*/ 123 w 132"/>
                <a:gd name="T1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9">
                  <a:moveTo>
                    <a:pt x="123" y="0"/>
                  </a:moveTo>
                  <a:cubicBezTo>
                    <a:pt x="77" y="0"/>
                    <a:pt x="77" y="0"/>
                    <a:pt x="77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6" y="0"/>
                    <a:pt x="3" y="1"/>
                    <a:pt x="2" y="4"/>
                  </a:cubicBezTo>
                  <a:cubicBezTo>
                    <a:pt x="1" y="4"/>
                    <a:pt x="1" y="5"/>
                    <a:pt x="1" y="6"/>
                  </a:cubicBezTo>
                  <a:cubicBezTo>
                    <a:pt x="0" y="7"/>
                    <a:pt x="0" y="8"/>
                    <a:pt x="0" y="9"/>
                  </a:cubicBezTo>
                  <a:cubicBezTo>
                    <a:pt x="132" y="9"/>
                    <a:pt x="132" y="9"/>
                    <a:pt x="132" y="9"/>
                  </a:cubicBezTo>
                  <a:cubicBezTo>
                    <a:pt x="132" y="4"/>
                    <a:pt x="128" y="0"/>
                    <a:pt x="123" y="0"/>
                  </a:cubicBezTo>
                </a:path>
              </a:pathLst>
            </a:custGeom>
            <a:solidFill>
              <a:srgbClr val="3362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8" name="任意多边形 177"/>
            <p:cNvSpPr/>
            <p:nvPr/>
          </p:nvSpPr>
          <p:spPr bwMode="auto">
            <a:xfrm>
              <a:off x="4689476" y="3959225"/>
              <a:ext cx="688975" cy="1776413"/>
            </a:xfrm>
            <a:custGeom>
              <a:avLst/>
              <a:gdLst>
                <a:gd name="T0" fmla="*/ 401 w 434"/>
                <a:gd name="T1" fmla="*/ 1119 h 1119"/>
                <a:gd name="T2" fmla="*/ 434 w 434"/>
                <a:gd name="T3" fmla="*/ 1119 h 1119"/>
                <a:gd name="T4" fmla="*/ 388 w 434"/>
                <a:gd name="T5" fmla="*/ 861 h 1119"/>
                <a:gd name="T6" fmla="*/ 418 w 434"/>
                <a:gd name="T7" fmla="*/ 861 h 1119"/>
                <a:gd name="T8" fmla="*/ 418 w 434"/>
                <a:gd name="T9" fmla="*/ 828 h 1119"/>
                <a:gd name="T10" fmla="*/ 382 w 434"/>
                <a:gd name="T11" fmla="*/ 828 h 1119"/>
                <a:gd name="T12" fmla="*/ 237 w 434"/>
                <a:gd name="T13" fmla="*/ 33 h 1119"/>
                <a:gd name="T14" fmla="*/ 258 w 434"/>
                <a:gd name="T15" fmla="*/ 33 h 1119"/>
                <a:gd name="T16" fmla="*/ 258 w 434"/>
                <a:gd name="T17" fmla="*/ 0 h 1119"/>
                <a:gd name="T18" fmla="*/ 176 w 434"/>
                <a:gd name="T19" fmla="*/ 0 h 1119"/>
                <a:gd name="T20" fmla="*/ 176 w 434"/>
                <a:gd name="T21" fmla="*/ 33 h 1119"/>
                <a:gd name="T22" fmla="*/ 197 w 434"/>
                <a:gd name="T23" fmla="*/ 33 h 1119"/>
                <a:gd name="T24" fmla="*/ 52 w 434"/>
                <a:gd name="T25" fmla="*/ 828 h 1119"/>
                <a:gd name="T26" fmla="*/ 16 w 434"/>
                <a:gd name="T27" fmla="*/ 828 h 1119"/>
                <a:gd name="T28" fmla="*/ 16 w 434"/>
                <a:gd name="T29" fmla="*/ 861 h 1119"/>
                <a:gd name="T30" fmla="*/ 46 w 434"/>
                <a:gd name="T31" fmla="*/ 861 h 1119"/>
                <a:gd name="T32" fmla="*/ 0 w 434"/>
                <a:gd name="T33" fmla="*/ 1119 h 1119"/>
                <a:gd name="T34" fmla="*/ 33 w 434"/>
                <a:gd name="T35" fmla="*/ 1119 h 1119"/>
                <a:gd name="T36" fmla="*/ 79 w 434"/>
                <a:gd name="T37" fmla="*/ 861 h 1119"/>
                <a:gd name="T38" fmla="*/ 355 w 434"/>
                <a:gd name="T39" fmla="*/ 861 h 1119"/>
                <a:gd name="T40" fmla="*/ 401 w 434"/>
                <a:gd name="T41" fmla="*/ 1119 h 1119"/>
                <a:gd name="T42" fmla="*/ 85 w 434"/>
                <a:gd name="T43" fmla="*/ 828 h 1119"/>
                <a:gd name="T44" fmla="*/ 218 w 434"/>
                <a:gd name="T45" fmla="*/ 104 h 1119"/>
                <a:gd name="T46" fmla="*/ 349 w 434"/>
                <a:gd name="T47" fmla="*/ 828 h 1119"/>
                <a:gd name="T48" fmla="*/ 85 w 434"/>
                <a:gd name="T49" fmla="*/ 828 h 1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34" h="1119">
                  <a:moveTo>
                    <a:pt x="401" y="1119"/>
                  </a:moveTo>
                  <a:lnTo>
                    <a:pt x="434" y="1119"/>
                  </a:lnTo>
                  <a:lnTo>
                    <a:pt x="388" y="861"/>
                  </a:lnTo>
                  <a:lnTo>
                    <a:pt x="418" y="861"/>
                  </a:lnTo>
                  <a:lnTo>
                    <a:pt x="418" y="828"/>
                  </a:lnTo>
                  <a:lnTo>
                    <a:pt x="382" y="828"/>
                  </a:lnTo>
                  <a:lnTo>
                    <a:pt x="237" y="33"/>
                  </a:lnTo>
                  <a:lnTo>
                    <a:pt x="258" y="33"/>
                  </a:lnTo>
                  <a:lnTo>
                    <a:pt x="258" y="0"/>
                  </a:lnTo>
                  <a:lnTo>
                    <a:pt x="176" y="0"/>
                  </a:lnTo>
                  <a:lnTo>
                    <a:pt x="176" y="33"/>
                  </a:lnTo>
                  <a:lnTo>
                    <a:pt x="197" y="33"/>
                  </a:lnTo>
                  <a:lnTo>
                    <a:pt x="52" y="828"/>
                  </a:lnTo>
                  <a:lnTo>
                    <a:pt x="16" y="828"/>
                  </a:lnTo>
                  <a:lnTo>
                    <a:pt x="16" y="861"/>
                  </a:lnTo>
                  <a:lnTo>
                    <a:pt x="46" y="861"/>
                  </a:lnTo>
                  <a:lnTo>
                    <a:pt x="0" y="1119"/>
                  </a:lnTo>
                  <a:lnTo>
                    <a:pt x="33" y="1119"/>
                  </a:lnTo>
                  <a:lnTo>
                    <a:pt x="79" y="861"/>
                  </a:lnTo>
                  <a:lnTo>
                    <a:pt x="355" y="861"/>
                  </a:lnTo>
                  <a:lnTo>
                    <a:pt x="401" y="1119"/>
                  </a:lnTo>
                  <a:close/>
                  <a:moveTo>
                    <a:pt x="85" y="828"/>
                  </a:moveTo>
                  <a:lnTo>
                    <a:pt x="218" y="104"/>
                  </a:lnTo>
                  <a:lnTo>
                    <a:pt x="349" y="828"/>
                  </a:lnTo>
                  <a:lnTo>
                    <a:pt x="85" y="828"/>
                  </a:ln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9" name="任意多边形 178"/>
            <p:cNvSpPr/>
            <p:nvPr/>
          </p:nvSpPr>
          <p:spPr bwMode="auto">
            <a:xfrm>
              <a:off x="6862763" y="3959225"/>
              <a:ext cx="690563" cy="1727200"/>
            </a:xfrm>
            <a:custGeom>
              <a:avLst/>
              <a:gdLst>
                <a:gd name="T0" fmla="*/ 401 w 435"/>
                <a:gd name="T1" fmla="*/ 1088 h 1088"/>
                <a:gd name="T2" fmla="*/ 435 w 435"/>
                <a:gd name="T3" fmla="*/ 1088 h 1088"/>
                <a:gd name="T4" fmla="*/ 387 w 435"/>
                <a:gd name="T5" fmla="*/ 861 h 1088"/>
                <a:gd name="T6" fmla="*/ 416 w 435"/>
                <a:gd name="T7" fmla="*/ 861 h 1088"/>
                <a:gd name="T8" fmla="*/ 416 w 435"/>
                <a:gd name="T9" fmla="*/ 828 h 1088"/>
                <a:gd name="T10" fmla="*/ 383 w 435"/>
                <a:gd name="T11" fmla="*/ 828 h 1088"/>
                <a:gd name="T12" fmla="*/ 237 w 435"/>
                <a:gd name="T13" fmla="*/ 33 h 1088"/>
                <a:gd name="T14" fmla="*/ 258 w 435"/>
                <a:gd name="T15" fmla="*/ 33 h 1088"/>
                <a:gd name="T16" fmla="*/ 258 w 435"/>
                <a:gd name="T17" fmla="*/ 0 h 1088"/>
                <a:gd name="T18" fmla="*/ 175 w 435"/>
                <a:gd name="T19" fmla="*/ 0 h 1088"/>
                <a:gd name="T20" fmla="*/ 175 w 435"/>
                <a:gd name="T21" fmla="*/ 33 h 1088"/>
                <a:gd name="T22" fmla="*/ 198 w 435"/>
                <a:gd name="T23" fmla="*/ 33 h 1088"/>
                <a:gd name="T24" fmla="*/ 52 w 435"/>
                <a:gd name="T25" fmla="*/ 828 h 1088"/>
                <a:gd name="T26" fmla="*/ 17 w 435"/>
                <a:gd name="T27" fmla="*/ 828 h 1088"/>
                <a:gd name="T28" fmla="*/ 17 w 435"/>
                <a:gd name="T29" fmla="*/ 861 h 1088"/>
                <a:gd name="T30" fmla="*/ 46 w 435"/>
                <a:gd name="T31" fmla="*/ 861 h 1088"/>
                <a:gd name="T32" fmla="*/ 0 w 435"/>
                <a:gd name="T33" fmla="*/ 1088 h 1088"/>
                <a:gd name="T34" fmla="*/ 33 w 435"/>
                <a:gd name="T35" fmla="*/ 1088 h 1088"/>
                <a:gd name="T36" fmla="*/ 79 w 435"/>
                <a:gd name="T37" fmla="*/ 861 h 1088"/>
                <a:gd name="T38" fmla="*/ 356 w 435"/>
                <a:gd name="T39" fmla="*/ 861 h 1088"/>
                <a:gd name="T40" fmla="*/ 401 w 435"/>
                <a:gd name="T41" fmla="*/ 1088 h 1088"/>
                <a:gd name="T42" fmla="*/ 85 w 435"/>
                <a:gd name="T43" fmla="*/ 828 h 1088"/>
                <a:gd name="T44" fmla="*/ 216 w 435"/>
                <a:gd name="T45" fmla="*/ 104 h 1088"/>
                <a:gd name="T46" fmla="*/ 349 w 435"/>
                <a:gd name="T47" fmla="*/ 828 h 1088"/>
                <a:gd name="T48" fmla="*/ 85 w 435"/>
                <a:gd name="T49" fmla="*/ 828 h 10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35" h="1088">
                  <a:moveTo>
                    <a:pt x="401" y="1088"/>
                  </a:moveTo>
                  <a:lnTo>
                    <a:pt x="435" y="1088"/>
                  </a:lnTo>
                  <a:lnTo>
                    <a:pt x="387" y="861"/>
                  </a:lnTo>
                  <a:lnTo>
                    <a:pt x="416" y="861"/>
                  </a:lnTo>
                  <a:lnTo>
                    <a:pt x="416" y="828"/>
                  </a:lnTo>
                  <a:lnTo>
                    <a:pt x="383" y="828"/>
                  </a:lnTo>
                  <a:lnTo>
                    <a:pt x="237" y="33"/>
                  </a:lnTo>
                  <a:lnTo>
                    <a:pt x="258" y="33"/>
                  </a:lnTo>
                  <a:lnTo>
                    <a:pt x="258" y="0"/>
                  </a:lnTo>
                  <a:lnTo>
                    <a:pt x="175" y="0"/>
                  </a:lnTo>
                  <a:lnTo>
                    <a:pt x="175" y="33"/>
                  </a:lnTo>
                  <a:lnTo>
                    <a:pt x="198" y="33"/>
                  </a:lnTo>
                  <a:lnTo>
                    <a:pt x="52" y="828"/>
                  </a:lnTo>
                  <a:lnTo>
                    <a:pt x="17" y="828"/>
                  </a:lnTo>
                  <a:lnTo>
                    <a:pt x="17" y="861"/>
                  </a:lnTo>
                  <a:lnTo>
                    <a:pt x="46" y="861"/>
                  </a:lnTo>
                  <a:lnTo>
                    <a:pt x="0" y="1088"/>
                  </a:lnTo>
                  <a:lnTo>
                    <a:pt x="33" y="1088"/>
                  </a:lnTo>
                  <a:lnTo>
                    <a:pt x="79" y="861"/>
                  </a:lnTo>
                  <a:lnTo>
                    <a:pt x="356" y="861"/>
                  </a:lnTo>
                  <a:lnTo>
                    <a:pt x="401" y="1088"/>
                  </a:lnTo>
                  <a:close/>
                  <a:moveTo>
                    <a:pt x="85" y="828"/>
                  </a:moveTo>
                  <a:lnTo>
                    <a:pt x="216" y="104"/>
                  </a:lnTo>
                  <a:lnTo>
                    <a:pt x="349" y="828"/>
                  </a:lnTo>
                  <a:lnTo>
                    <a:pt x="85" y="828"/>
                  </a:ln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0" name="任意多边形 179"/>
            <p:cNvSpPr/>
            <p:nvPr/>
          </p:nvSpPr>
          <p:spPr bwMode="auto">
            <a:xfrm>
              <a:off x="6908801" y="3840163"/>
              <a:ext cx="357188" cy="30163"/>
            </a:xfrm>
            <a:custGeom>
              <a:avLst/>
              <a:gdLst>
                <a:gd name="T0" fmla="*/ 0 w 108"/>
                <a:gd name="T1" fmla="*/ 3 h 9"/>
                <a:gd name="T2" fmla="*/ 0 w 108"/>
                <a:gd name="T3" fmla="*/ 6 h 9"/>
                <a:gd name="T4" fmla="*/ 3 w 108"/>
                <a:gd name="T5" fmla="*/ 9 h 9"/>
                <a:gd name="T6" fmla="*/ 105 w 108"/>
                <a:gd name="T7" fmla="*/ 9 h 9"/>
                <a:gd name="T8" fmla="*/ 108 w 108"/>
                <a:gd name="T9" fmla="*/ 6 h 9"/>
                <a:gd name="T10" fmla="*/ 108 w 108"/>
                <a:gd name="T11" fmla="*/ 3 h 9"/>
                <a:gd name="T12" fmla="*/ 105 w 108"/>
                <a:gd name="T13" fmla="*/ 0 h 9"/>
                <a:gd name="T14" fmla="*/ 3 w 108"/>
                <a:gd name="T15" fmla="*/ 0 h 9"/>
                <a:gd name="T16" fmla="*/ 0 w 108"/>
                <a:gd name="T17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9">
                  <a:moveTo>
                    <a:pt x="0" y="3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1" y="9"/>
                    <a:pt x="3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7" y="9"/>
                    <a:pt x="108" y="7"/>
                    <a:pt x="108" y="6"/>
                  </a:cubicBezTo>
                  <a:cubicBezTo>
                    <a:pt x="108" y="3"/>
                    <a:pt x="108" y="3"/>
                    <a:pt x="108" y="3"/>
                  </a:cubicBezTo>
                  <a:cubicBezTo>
                    <a:pt x="108" y="1"/>
                    <a:pt x="107" y="0"/>
                    <a:pt x="10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1" name="任意多边形 180"/>
            <p:cNvSpPr/>
            <p:nvPr/>
          </p:nvSpPr>
          <p:spPr bwMode="auto">
            <a:xfrm>
              <a:off x="6299201" y="2486025"/>
              <a:ext cx="541338" cy="649288"/>
            </a:xfrm>
            <a:custGeom>
              <a:avLst/>
              <a:gdLst>
                <a:gd name="T0" fmla="*/ 160 w 164"/>
                <a:gd name="T1" fmla="*/ 0 h 197"/>
                <a:gd name="T2" fmla="*/ 23 w 164"/>
                <a:gd name="T3" fmla="*/ 0 h 197"/>
                <a:gd name="T4" fmla="*/ 17 w 164"/>
                <a:gd name="T5" fmla="*/ 6 h 197"/>
                <a:gd name="T6" fmla="*/ 0 w 164"/>
                <a:gd name="T7" fmla="*/ 191 h 197"/>
                <a:gd name="T8" fmla="*/ 5 w 164"/>
                <a:gd name="T9" fmla="*/ 197 h 197"/>
                <a:gd name="T10" fmla="*/ 164 w 164"/>
                <a:gd name="T11" fmla="*/ 197 h 197"/>
                <a:gd name="T12" fmla="*/ 160 w 164"/>
                <a:gd name="T13" fmla="*/ 0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4" h="197">
                  <a:moveTo>
                    <a:pt x="160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0" y="0"/>
                    <a:pt x="17" y="3"/>
                    <a:pt x="17" y="6"/>
                  </a:cubicBezTo>
                  <a:cubicBezTo>
                    <a:pt x="0" y="191"/>
                    <a:pt x="0" y="191"/>
                    <a:pt x="0" y="191"/>
                  </a:cubicBezTo>
                  <a:cubicBezTo>
                    <a:pt x="0" y="194"/>
                    <a:pt x="2" y="197"/>
                    <a:pt x="5" y="197"/>
                  </a:cubicBezTo>
                  <a:cubicBezTo>
                    <a:pt x="164" y="197"/>
                    <a:pt x="164" y="197"/>
                    <a:pt x="164" y="197"/>
                  </a:cubicBezTo>
                  <a:cubicBezTo>
                    <a:pt x="160" y="0"/>
                    <a:pt x="160" y="0"/>
                    <a:pt x="160" y="0"/>
                  </a:cubicBezTo>
                </a:path>
              </a:pathLst>
            </a:custGeom>
            <a:solidFill>
              <a:srgbClr val="3B46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2" name="任意多边形 181"/>
            <p:cNvSpPr/>
            <p:nvPr/>
          </p:nvSpPr>
          <p:spPr bwMode="auto">
            <a:xfrm>
              <a:off x="6856413" y="2486025"/>
              <a:ext cx="66675" cy="649288"/>
            </a:xfrm>
            <a:custGeom>
              <a:avLst/>
              <a:gdLst>
                <a:gd name="T0" fmla="*/ 33 w 42"/>
                <a:gd name="T1" fmla="*/ 0 h 409"/>
                <a:gd name="T2" fmla="*/ 0 w 42"/>
                <a:gd name="T3" fmla="*/ 0 h 409"/>
                <a:gd name="T4" fmla="*/ 8 w 42"/>
                <a:gd name="T5" fmla="*/ 409 h 409"/>
                <a:gd name="T6" fmla="*/ 42 w 42"/>
                <a:gd name="T7" fmla="*/ 409 h 409"/>
                <a:gd name="T8" fmla="*/ 33 w 42"/>
                <a:gd name="T9" fmla="*/ 0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409">
                  <a:moveTo>
                    <a:pt x="33" y="0"/>
                  </a:moveTo>
                  <a:lnTo>
                    <a:pt x="0" y="0"/>
                  </a:lnTo>
                  <a:lnTo>
                    <a:pt x="8" y="409"/>
                  </a:lnTo>
                  <a:lnTo>
                    <a:pt x="42" y="409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3A45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3" name="任意多边形 182"/>
            <p:cNvSpPr/>
            <p:nvPr/>
          </p:nvSpPr>
          <p:spPr bwMode="auto">
            <a:xfrm>
              <a:off x="6856413" y="2486025"/>
              <a:ext cx="66675" cy="649288"/>
            </a:xfrm>
            <a:custGeom>
              <a:avLst/>
              <a:gdLst>
                <a:gd name="T0" fmla="*/ 33 w 42"/>
                <a:gd name="T1" fmla="*/ 0 h 409"/>
                <a:gd name="T2" fmla="*/ 0 w 42"/>
                <a:gd name="T3" fmla="*/ 0 h 409"/>
                <a:gd name="T4" fmla="*/ 8 w 42"/>
                <a:gd name="T5" fmla="*/ 409 h 409"/>
                <a:gd name="T6" fmla="*/ 42 w 42"/>
                <a:gd name="T7" fmla="*/ 409 h 409"/>
                <a:gd name="T8" fmla="*/ 33 w 42"/>
                <a:gd name="T9" fmla="*/ 0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409">
                  <a:moveTo>
                    <a:pt x="33" y="0"/>
                  </a:moveTo>
                  <a:lnTo>
                    <a:pt x="0" y="0"/>
                  </a:lnTo>
                  <a:lnTo>
                    <a:pt x="8" y="409"/>
                  </a:lnTo>
                  <a:lnTo>
                    <a:pt x="42" y="409"/>
                  </a:lnTo>
                  <a:lnTo>
                    <a:pt x="3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4" name="任意多边形 183"/>
            <p:cNvSpPr/>
            <p:nvPr/>
          </p:nvSpPr>
          <p:spPr bwMode="auto">
            <a:xfrm>
              <a:off x="6908801" y="2486025"/>
              <a:ext cx="225425" cy="649288"/>
            </a:xfrm>
            <a:custGeom>
              <a:avLst/>
              <a:gdLst>
                <a:gd name="T0" fmla="*/ 63 w 68"/>
                <a:gd name="T1" fmla="*/ 0 h 197"/>
                <a:gd name="T2" fmla="*/ 0 w 68"/>
                <a:gd name="T3" fmla="*/ 0 h 197"/>
                <a:gd name="T4" fmla="*/ 4 w 68"/>
                <a:gd name="T5" fmla="*/ 197 h 197"/>
                <a:gd name="T6" fmla="*/ 46 w 68"/>
                <a:gd name="T7" fmla="*/ 197 h 197"/>
                <a:gd name="T8" fmla="*/ 52 w 68"/>
                <a:gd name="T9" fmla="*/ 191 h 197"/>
                <a:gd name="T10" fmla="*/ 68 w 68"/>
                <a:gd name="T11" fmla="*/ 6 h 197"/>
                <a:gd name="T12" fmla="*/ 63 w 68"/>
                <a:gd name="T13" fmla="*/ 0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197">
                  <a:moveTo>
                    <a:pt x="6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97"/>
                    <a:pt x="4" y="197"/>
                    <a:pt x="4" y="197"/>
                  </a:cubicBezTo>
                  <a:cubicBezTo>
                    <a:pt x="46" y="197"/>
                    <a:pt x="46" y="197"/>
                    <a:pt x="46" y="197"/>
                  </a:cubicBezTo>
                  <a:cubicBezTo>
                    <a:pt x="49" y="197"/>
                    <a:pt x="51" y="194"/>
                    <a:pt x="52" y="191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8" y="3"/>
                    <a:pt x="66" y="0"/>
                    <a:pt x="63" y="0"/>
                  </a:cubicBezTo>
                </a:path>
              </a:pathLst>
            </a:custGeom>
            <a:solidFill>
              <a:srgbClr val="3A45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5" name="任意多边形 184"/>
            <p:cNvSpPr/>
            <p:nvPr/>
          </p:nvSpPr>
          <p:spPr bwMode="auto">
            <a:xfrm>
              <a:off x="6826251" y="2486025"/>
              <a:ext cx="42863" cy="649288"/>
            </a:xfrm>
            <a:custGeom>
              <a:avLst/>
              <a:gdLst>
                <a:gd name="T0" fmla="*/ 19 w 27"/>
                <a:gd name="T1" fmla="*/ 0 h 409"/>
                <a:gd name="T2" fmla="*/ 0 w 27"/>
                <a:gd name="T3" fmla="*/ 0 h 409"/>
                <a:gd name="T4" fmla="*/ 9 w 27"/>
                <a:gd name="T5" fmla="*/ 409 h 409"/>
                <a:gd name="T6" fmla="*/ 27 w 27"/>
                <a:gd name="T7" fmla="*/ 409 h 409"/>
                <a:gd name="T8" fmla="*/ 19 w 27"/>
                <a:gd name="T9" fmla="*/ 0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409">
                  <a:moveTo>
                    <a:pt x="19" y="0"/>
                  </a:moveTo>
                  <a:lnTo>
                    <a:pt x="0" y="0"/>
                  </a:lnTo>
                  <a:lnTo>
                    <a:pt x="9" y="409"/>
                  </a:lnTo>
                  <a:lnTo>
                    <a:pt x="27" y="409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3944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6" name="任意多边形 185"/>
            <p:cNvSpPr/>
            <p:nvPr/>
          </p:nvSpPr>
          <p:spPr bwMode="auto">
            <a:xfrm>
              <a:off x="6826251" y="2486025"/>
              <a:ext cx="42863" cy="649288"/>
            </a:xfrm>
            <a:custGeom>
              <a:avLst/>
              <a:gdLst>
                <a:gd name="T0" fmla="*/ 19 w 27"/>
                <a:gd name="T1" fmla="*/ 0 h 409"/>
                <a:gd name="T2" fmla="*/ 0 w 27"/>
                <a:gd name="T3" fmla="*/ 0 h 409"/>
                <a:gd name="T4" fmla="*/ 9 w 27"/>
                <a:gd name="T5" fmla="*/ 409 h 409"/>
                <a:gd name="T6" fmla="*/ 27 w 27"/>
                <a:gd name="T7" fmla="*/ 409 h 409"/>
                <a:gd name="T8" fmla="*/ 19 w 27"/>
                <a:gd name="T9" fmla="*/ 0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409">
                  <a:moveTo>
                    <a:pt x="19" y="0"/>
                  </a:moveTo>
                  <a:lnTo>
                    <a:pt x="0" y="0"/>
                  </a:lnTo>
                  <a:lnTo>
                    <a:pt x="9" y="409"/>
                  </a:lnTo>
                  <a:lnTo>
                    <a:pt x="27" y="409"/>
                  </a:lnTo>
                  <a:lnTo>
                    <a:pt x="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7" name="任意多边形 186"/>
            <p:cNvSpPr/>
            <p:nvPr/>
          </p:nvSpPr>
          <p:spPr bwMode="auto">
            <a:xfrm>
              <a:off x="6513513" y="2660650"/>
              <a:ext cx="431800" cy="17463"/>
            </a:xfrm>
            <a:custGeom>
              <a:avLst/>
              <a:gdLst>
                <a:gd name="T0" fmla="*/ 270 w 272"/>
                <a:gd name="T1" fmla="*/ 11 h 11"/>
                <a:gd name="T2" fmla="*/ 0 w 272"/>
                <a:gd name="T3" fmla="*/ 11 h 11"/>
                <a:gd name="T4" fmla="*/ 0 w 272"/>
                <a:gd name="T5" fmla="*/ 0 h 11"/>
                <a:gd name="T6" fmla="*/ 272 w 272"/>
                <a:gd name="T7" fmla="*/ 0 h 11"/>
                <a:gd name="T8" fmla="*/ 270 w 272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11">
                  <a:moveTo>
                    <a:pt x="270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272" y="0"/>
                  </a:lnTo>
                  <a:lnTo>
                    <a:pt x="270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8" name="矩形 187"/>
            <p:cNvSpPr/>
            <p:nvPr/>
          </p:nvSpPr>
          <p:spPr bwMode="auto">
            <a:xfrm>
              <a:off x="6556376" y="2687638"/>
              <a:ext cx="455613" cy="15875"/>
            </a:xfrm>
            <a:prstGeom prst="rect">
              <a:avLst/>
            </a:pr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9" name="任意多边形 188"/>
            <p:cNvSpPr/>
            <p:nvPr/>
          </p:nvSpPr>
          <p:spPr bwMode="auto">
            <a:xfrm>
              <a:off x="6553201" y="2711450"/>
              <a:ext cx="379413" cy="15875"/>
            </a:xfrm>
            <a:custGeom>
              <a:avLst/>
              <a:gdLst>
                <a:gd name="T0" fmla="*/ 237 w 239"/>
                <a:gd name="T1" fmla="*/ 10 h 10"/>
                <a:gd name="T2" fmla="*/ 0 w 239"/>
                <a:gd name="T3" fmla="*/ 10 h 10"/>
                <a:gd name="T4" fmla="*/ 0 w 239"/>
                <a:gd name="T5" fmla="*/ 0 h 10"/>
                <a:gd name="T6" fmla="*/ 239 w 239"/>
                <a:gd name="T7" fmla="*/ 0 h 10"/>
                <a:gd name="T8" fmla="*/ 237 w 239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9" h="10">
                  <a:moveTo>
                    <a:pt x="237" y="10"/>
                  </a:moveTo>
                  <a:lnTo>
                    <a:pt x="0" y="10"/>
                  </a:lnTo>
                  <a:lnTo>
                    <a:pt x="0" y="0"/>
                  </a:lnTo>
                  <a:lnTo>
                    <a:pt x="239" y="0"/>
                  </a:lnTo>
                  <a:lnTo>
                    <a:pt x="237" y="10"/>
                  </a:ln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0" name="任意多边形 189"/>
            <p:cNvSpPr/>
            <p:nvPr/>
          </p:nvSpPr>
          <p:spPr bwMode="auto">
            <a:xfrm>
              <a:off x="6550026" y="2736850"/>
              <a:ext cx="339725" cy="17463"/>
            </a:xfrm>
            <a:custGeom>
              <a:avLst/>
              <a:gdLst>
                <a:gd name="T0" fmla="*/ 214 w 214"/>
                <a:gd name="T1" fmla="*/ 11 h 11"/>
                <a:gd name="T2" fmla="*/ 0 w 214"/>
                <a:gd name="T3" fmla="*/ 11 h 11"/>
                <a:gd name="T4" fmla="*/ 2 w 214"/>
                <a:gd name="T5" fmla="*/ 0 h 11"/>
                <a:gd name="T6" fmla="*/ 214 w 214"/>
                <a:gd name="T7" fmla="*/ 0 h 11"/>
                <a:gd name="T8" fmla="*/ 214 w 214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11">
                  <a:moveTo>
                    <a:pt x="214" y="11"/>
                  </a:moveTo>
                  <a:lnTo>
                    <a:pt x="0" y="11"/>
                  </a:lnTo>
                  <a:lnTo>
                    <a:pt x="2" y="0"/>
                  </a:lnTo>
                  <a:lnTo>
                    <a:pt x="214" y="0"/>
                  </a:lnTo>
                  <a:lnTo>
                    <a:pt x="214" y="11"/>
                  </a:ln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1" name="矩形 190"/>
            <p:cNvSpPr/>
            <p:nvPr/>
          </p:nvSpPr>
          <p:spPr bwMode="auto">
            <a:xfrm>
              <a:off x="6503988" y="2779713"/>
              <a:ext cx="279400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2" name="任意多边形 191"/>
            <p:cNvSpPr/>
            <p:nvPr/>
          </p:nvSpPr>
          <p:spPr bwMode="auto">
            <a:xfrm>
              <a:off x="6540501" y="2855913"/>
              <a:ext cx="303213" cy="15875"/>
            </a:xfrm>
            <a:custGeom>
              <a:avLst/>
              <a:gdLst>
                <a:gd name="T0" fmla="*/ 191 w 191"/>
                <a:gd name="T1" fmla="*/ 0 h 10"/>
                <a:gd name="T2" fmla="*/ 2 w 191"/>
                <a:gd name="T3" fmla="*/ 0 h 10"/>
                <a:gd name="T4" fmla="*/ 0 w 191"/>
                <a:gd name="T5" fmla="*/ 10 h 10"/>
                <a:gd name="T6" fmla="*/ 189 w 191"/>
                <a:gd name="T7" fmla="*/ 10 h 10"/>
                <a:gd name="T8" fmla="*/ 191 w 191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1" h="10">
                  <a:moveTo>
                    <a:pt x="191" y="0"/>
                  </a:moveTo>
                  <a:lnTo>
                    <a:pt x="2" y="0"/>
                  </a:lnTo>
                  <a:lnTo>
                    <a:pt x="0" y="10"/>
                  </a:lnTo>
                  <a:lnTo>
                    <a:pt x="189" y="10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3" name="任意多边形 192"/>
            <p:cNvSpPr/>
            <p:nvPr/>
          </p:nvSpPr>
          <p:spPr bwMode="auto">
            <a:xfrm>
              <a:off x="6543676" y="2828925"/>
              <a:ext cx="250825" cy="17463"/>
            </a:xfrm>
            <a:custGeom>
              <a:avLst/>
              <a:gdLst>
                <a:gd name="T0" fmla="*/ 158 w 158"/>
                <a:gd name="T1" fmla="*/ 0 h 11"/>
                <a:gd name="T2" fmla="*/ 0 w 158"/>
                <a:gd name="T3" fmla="*/ 0 h 11"/>
                <a:gd name="T4" fmla="*/ 0 w 158"/>
                <a:gd name="T5" fmla="*/ 11 h 11"/>
                <a:gd name="T6" fmla="*/ 156 w 158"/>
                <a:gd name="T7" fmla="*/ 11 h 11"/>
                <a:gd name="T8" fmla="*/ 158 w 158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11">
                  <a:moveTo>
                    <a:pt x="158" y="0"/>
                  </a:moveTo>
                  <a:lnTo>
                    <a:pt x="0" y="0"/>
                  </a:lnTo>
                  <a:lnTo>
                    <a:pt x="0" y="11"/>
                  </a:lnTo>
                  <a:lnTo>
                    <a:pt x="156" y="11"/>
                  </a:lnTo>
                  <a:lnTo>
                    <a:pt x="158" y="0"/>
                  </a:ln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4" name="矩形 193"/>
            <p:cNvSpPr/>
            <p:nvPr/>
          </p:nvSpPr>
          <p:spPr bwMode="auto">
            <a:xfrm>
              <a:off x="6546851" y="2803525"/>
              <a:ext cx="273050" cy="15875"/>
            </a:xfrm>
            <a:prstGeom prst="rect">
              <a:avLst/>
            </a:pr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5" name="任意多边形 194"/>
            <p:cNvSpPr/>
            <p:nvPr/>
          </p:nvSpPr>
          <p:spPr bwMode="auto">
            <a:xfrm>
              <a:off x="6486526" y="2971800"/>
              <a:ext cx="280988" cy="15875"/>
            </a:xfrm>
            <a:custGeom>
              <a:avLst/>
              <a:gdLst>
                <a:gd name="T0" fmla="*/ 175 w 177"/>
                <a:gd name="T1" fmla="*/ 10 h 10"/>
                <a:gd name="T2" fmla="*/ 0 w 177"/>
                <a:gd name="T3" fmla="*/ 10 h 10"/>
                <a:gd name="T4" fmla="*/ 0 w 177"/>
                <a:gd name="T5" fmla="*/ 0 h 10"/>
                <a:gd name="T6" fmla="*/ 177 w 177"/>
                <a:gd name="T7" fmla="*/ 0 h 10"/>
                <a:gd name="T8" fmla="*/ 175 w 177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7" h="10">
                  <a:moveTo>
                    <a:pt x="175" y="10"/>
                  </a:moveTo>
                  <a:lnTo>
                    <a:pt x="0" y="10"/>
                  </a:lnTo>
                  <a:lnTo>
                    <a:pt x="0" y="0"/>
                  </a:lnTo>
                  <a:lnTo>
                    <a:pt x="177" y="0"/>
                  </a:lnTo>
                  <a:lnTo>
                    <a:pt x="175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6" name="矩形 195"/>
            <p:cNvSpPr/>
            <p:nvPr/>
          </p:nvSpPr>
          <p:spPr bwMode="auto">
            <a:xfrm>
              <a:off x="6523038" y="3046413"/>
              <a:ext cx="300038" cy="17463"/>
            </a:xfrm>
            <a:prstGeom prst="rect">
              <a:avLst/>
            </a:pr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7" name="矩形 196"/>
            <p:cNvSpPr/>
            <p:nvPr/>
          </p:nvSpPr>
          <p:spPr bwMode="auto">
            <a:xfrm>
              <a:off x="6526213" y="3024188"/>
              <a:ext cx="247650" cy="12700"/>
            </a:xfrm>
            <a:prstGeom prst="rect">
              <a:avLst/>
            </a:pr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8" name="任意多边形 197"/>
            <p:cNvSpPr/>
            <p:nvPr/>
          </p:nvSpPr>
          <p:spPr bwMode="auto">
            <a:xfrm>
              <a:off x="6526213" y="2997200"/>
              <a:ext cx="277813" cy="17463"/>
            </a:xfrm>
            <a:custGeom>
              <a:avLst/>
              <a:gdLst>
                <a:gd name="T0" fmla="*/ 175 w 175"/>
                <a:gd name="T1" fmla="*/ 0 h 11"/>
                <a:gd name="T2" fmla="*/ 2 w 175"/>
                <a:gd name="T3" fmla="*/ 0 h 11"/>
                <a:gd name="T4" fmla="*/ 0 w 175"/>
                <a:gd name="T5" fmla="*/ 11 h 11"/>
                <a:gd name="T6" fmla="*/ 173 w 175"/>
                <a:gd name="T7" fmla="*/ 11 h 11"/>
                <a:gd name="T8" fmla="*/ 175 w 175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5" h="11">
                  <a:moveTo>
                    <a:pt x="175" y="0"/>
                  </a:moveTo>
                  <a:lnTo>
                    <a:pt x="2" y="0"/>
                  </a:lnTo>
                  <a:lnTo>
                    <a:pt x="0" y="11"/>
                  </a:lnTo>
                  <a:lnTo>
                    <a:pt x="173" y="11"/>
                  </a:lnTo>
                  <a:lnTo>
                    <a:pt x="175" y="0"/>
                  </a:ln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9" name="任意多边形 198"/>
            <p:cNvSpPr/>
            <p:nvPr/>
          </p:nvSpPr>
          <p:spPr bwMode="auto">
            <a:xfrm>
              <a:off x="6424613" y="2543175"/>
              <a:ext cx="230188" cy="15875"/>
            </a:xfrm>
            <a:custGeom>
              <a:avLst/>
              <a:gdLst>
                <a:gd name="T0" fmla="*/ 143 w 145"/>
                <a:gd name="T1" fmla="*/ 10 h 10"/>
                <a:gd name="T2" fmla="*/ 0 w 145"/>
                <a:gd name="T3" fmla="*/ 10 h 10"/>
                <a:gd name="T4" fmla="*/ 2 w 145"/>
                <a:gd name="T5" fmla="*/ 0 h 10"/>
                <a:gd name="T6" fmla="*/ 145 w 145"/>
                <a:gd name="T7" fmla="*/ 0 h 10"/>
                <a:gd name="T8" fmla="*/ 143 w 145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0">
                  <a:moveTo>
                    <a:pt x="143" y="10"/>
                  </a:moveTo>
                  <a:lnTo>
                    <a:pt x="0" y="10"/>
                  </a:lnTo>
                  <a:lnTo>
                    <a:pt x="2" y="0"/>
                  </a:lnTo>
                  <a:lnTo>
                    <a:pt x="145" y="0"/>
                  </a:lnTo>
                  <a:lnTo>
                    <a:pt x="143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0" name="任意多边形 199"/>
            <p:cNvSpPr/>
            <p:nvPr/>
          </p:nvSpPr>
          <p:spPr bwMode="auto">
            <a:xfrm>
              <a:off x="6454776" y="2617788"/>
              <a:ext cx="242888" cy="17463"/>
            </a:xfrm>
            <a:custGeom>
              <a:avLst/>
              <a:gdLst>
                <a:gd name="T0" fmla="*/ 153 w 153"/>
                <a:gd name="T1" fmla="*/ 0 h 11"/>
                <a:gd name="T2" fmla="*/ 2 w 153"/>
                <a:gd name="T3" fmla="*/ 0 h 11"/>
                <a:gd name="T4" fmla="*/ 0 w 153"/>
                <a:gd name="T5" fmla="*/ 11 h 11"/>
                <a:gd name="T6" fmla="*/ 153 w 153"/>
                <a:gd name="T7" fmla="*/ 11 h 11"/>
                <a:gd name="T8" fmla="*/ 153 w 153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1">
                  <a:moveTo>
                    <a:pt x="153" y="0"/>
                  </a:moveTo>
                  <a:lnTo>
                    <a:pt x="2" y="0"/>
                  </a:lnTo>
                  <a:lnTo>
                    <a:pt x="0" y="11"/>
                  </a:lnTo>
                  <a:lnTo>
                    <a:pt x="153" y="11"/>
                  </a:lnTo>
                  <a:lnTo>
                    <a:pt x="15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1" name="矩形 200"/>
            <p:cNvSpPr/>
            <p:nvPr/>
          </p:nvSpPr>
          <p:spPr bwMode="auto">
            <a:xfrm>
              <a:off x="6457951" y="2595563"/>
              <a:ext cx="200025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2" name="矩形 201"/>
            <p:cNvSpPr/>
            <p:nvPr/>
          </p:nvSpPr>
          <p:spPr bwMode="auto">
            <a:xfrm>
              <a:off x="6461126" y="2568575"/>
              <a:ext cx="220663" cy="174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3" name="任意多边形 202"/>
            <p:cNvSpPr/>
            <p:nvPr/>
          </p:nvSpPr>
          <p:spPr bwMode="auto">
            <a:xfrm>
              <a:off x="6532563" y="2932113"/>
              <a:ext cx="301625" cy="15875"/>
            </a:xfrm>
            <a:custGeom>
              <a:avLst/>
              <a:gdLst>
                <a:gd name="T0" fmla="*/ 190 w 190"/>
                <a:gd name="T1" fmla="*/ 0 h 10"/>
                <a:gd name="T2" fmla="*/ 3 w 190"/>
                <a:gd name="T3" fmla="*/ 0 h 10"/>
                <a:gd name="T4" fmla="*/ 0 w 190"/>
                <a:gd name="T5" fmla="*/ 10 h 10"/>
                <a:gd name="T6" fmla="*/ 190 w 190"/>
                <a:gd name="T7" fmla="*/ 10 h 10"/>
                <a:gd name="T8" fmla="*/ 190 w 190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0">
                  <a:moveTo>
                    <a:pt x="190" y="0"/>
                  </a:moveTo>
                  <a:lnTo>
                    <a:pt x="3" y="0"/>
                  </a:lnTo>
                  <a:lnTo>
                    <a:pt x="0" y="10"/>
                  </a:lnTo>
                  <a:lnTo>
                    <a:pt x="190" y="10"/>
                  </a:lnTo>
                  <a:lnTo>
                    <a:pt x="190" y="0"/>
                  </a:ln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4" name="任意多边形 203"/>
            <p:cNvSpPr/>
            <p:nvPr/>
          </p:nvSpPr>
          <p:spPr bwMode="auto">
            <a:xfrm>
              <a:off x="6537326" y="2905125"/>
              <a:ext cx="249238" cy="15875"/>
            </a:xfrm>
            <a:custGeom>
              <a:avLst/>
              <a:gdLst>
                <a:gd name="T0" fmla="*/ 157 w 157"/>
                <a:gd name="T1" fmla="*/ 0 h 10"/>
                <a:gd name="T2" fmla="*/ 0 w 157"/>
                <a:gd name="T3" fmla="*/ 0 h 10"/>
                <a:gd name="T4" fmla="*/ 0 w 157"/>
                <a:gd name="T5" fmla="*/ 10 h 10"/>
                <a:gd name="T6" fmla="*/ 155 w 157"/>
                <a:gd name="T7" fmla="*/ 10 h 10"/>
                <a:gd name="T8" fmla="*/ 157 w 157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10">
                  <a:moveTo>
                    <a:pt x="157" y="0"/>
                  </a:moveTo>
                  <a:lnTo>
                    <a:pt x="0" y="0"/>
                  </a:lnTo>
                  <a:lnTo>
                    <a:pt x="0" y="10"/>
                  </a:lnTo>
                  <a:lnTo>
                    <a:pt x="155" y="10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5" name="任意多边形 204"/>
            <p:cNvSpPr/>
            <p:nvPr/>
          </p:nvSpPr>
          <p:spPr bwMode="auto">
            <a:xfrm>
              <a:off x="6540501" y="2878138"/>
              <a:ext cx="273050" cy="17463"/>
            </a:xfrm>
            <a:custGeom>
              <a:avLst/>
              <a:gdLst>
                <a:gd name="T0" fmla="*/ 172 w 172"/>
                <a:gd name="T1" fmla="*/ 0 h 11"/>
                <a:gd name="T2" fmla="*/ 0 w 172"/>
                <a:gd name="T3" fmla="*/ 0 h 11"/>
                <a:gd name="T4" fmla="*/ 0 w 172"/>
                <a:gd name="T5" fmla="*/ 11 h 11"/>
                <a:gd name="T6" fmla="*/ 170 w 172"/>
                <a:gd name="T7" fmla="*/ 11 h 11"/>
                <a:gd name="T8" fmla="*/ 172 w 172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2" h="11">
                  <a:moveTo>
                    <a:pt x="172" y="0"/>
                  </a:moveTo>
                  <a:lnTo>
                    <a:pt x="0" y="0"/>
                  </a:lnTo>
                  <a:lnTo>
                    <a:pt x="0" y="11"/>
                  </a:lnTo>
                  <a:lnTo>
                    <a:pt x="170" y="11"/>
                  </a:lnTo>
                  <a:lnTo>
                    <a:pt x="172" y="0"/>
                  </a:ln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6" name="任意多边形 205"/>
            <p:cNvSpPr/>
            <p:nvPr/>
          </p:nvSpPr>
          <p:spPr bwMode="auto">
            <a:xfrm>
              <a:off x="6834188" y="1916113"/>
              <a:ext cx="600075" cy="488950"/>
            </a:xfrm>
            <a:custGeom>
              <a:avLst/>
              <a:gdLst>
                <a:gd name="T0" fmla="*/ 160 w 182"/>
                <a:gd name="T1" fmla="*/ 148 h 148"/>
                <a:gd name="T2" fmla="*/ 10 w 182"/>
                <a:gd name="T3" fmla="*/ 148 h 148"/>
                <a:gd name="T4" fmla="*/ 3 w 182"/>
                <a:gd name="T5" fmla="*/ 145 h 148"/>
                <a:gd name="T6" fmla="*/ 0 w 182"/>
                <a:gd name="T7" fmla="*/ 137 h 148"/>
                <a:gd name="T8" fmla="*/ 12 w 182"/>
                <a:gd name="T9" fmla="*/ 10 h 148"/>
                <a:gd name="T10" fmla="*/ 23 w 182"/>
                <a:gd name="T11" fmla="*/ 0 h 148"/>
                <a:gd name="T12" fmla="*/ 173 w 182"/>
                <a:gd name="T13" fmla="*/ 0 h 148"/>
                <a:gd name="T14" fmla="*/ 180 w 182"/>
                <a:gd name="T15" fmla="*/ 4 h 148"/>
                <a:gd name="T16" fmla="*/ 182 w 182"/>
                <a:gd name="T17" fmla="*/ 11 h 148"/>
                <a:gd name="T18" fmla="*/ 171 w 182"/>
                <a:gd name="T19" fmla="*/ 138 h 148"/>
                <a:gd name="T20" fmla="*/ 160 w 182"/>
                <a:gd name="T21" fmla="*/ 148 h 148"/>
                <a:gd name="T22" fmla="*/ 23 w 182"/>
                <a:gd name="T23" fmla="*/ 4 h 148"/>
                <a:gd name="T24" fmla="*/ 16 w 182"/>
                <a:gd name="T25" fmla="*/ 11 h 148"/>
                <a:gd name="T26" fmla="*/ 4 w 182"/>
                <a:gd name="T27" fmla="*/ 138 h 148"/>
                <a:gd name="T28" fmla="*/ 6 w 182"/>
                <a:gd name="T29" fmla="*/ 142 h 148"/>
                <a:gd name="T30" fmla="*/ 10 w 182"/>
                <a:gd name="T31" fmla="*/ 144 h 148"/>
                <a:gd name="T32" fmla="*/ 160 w 182"/>
                <a:gd name="T33" fmla="*/ 144 h 148"/>
                <a:gd name="T34" fmla="*/ 167 w 182"/>
                <a:gd name="T35" fmla="*/ 137 h 148"/>
                <a:gd name="T36" fmla="*/ 178 w 182"/>
                <a:gd name="T37" fmla="*/ 10 h 148"/>
                <a:gd name="T38" fmla="*/ 177 w 182"/>
                <a:gd name="T39" fmla="*/ 6 h 148"/>
                <a:gd name="T40" fmla="*/ 173 w 182"/>
                <a:gd name="T41" fmla="*/ 4 h 148"/>
                <a:gd name="T42" fmla="*/ 23 w 182"/>
                <a:gd name="T43" fmla="*/ 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82" h="148">
                  <a:moveTo>
                    <a:pt x="160" y="148"/>
                  </a:moveTo>
                  <a:cubicBezTo>
                    <a:pt x="10" y="148"/>
                    <a:pt x="10" y="148"/>
                    <a:pt x="10" y="148"/>
                  </a:cubicBezTo>
                  <a:cubicBezTo>
                    <a:pt x="7" y="148"/>
                    <a:pt x="5" y="147"/>
                    <a:pt x="3" y="145"/>
                  </a:cubicBezTo>
                  <a:cubicBezTo>
                    <a:pt x="1" y="143"/>
                    <a:pt x="0" y="140"/>
                    <a:pt x="0" y="137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5"/>
                    <a:pt x="17" y="0"/>
                    <a:pt x="23" y="0"/>
                  </a:cubicBezTo>
                  <a:cubicBezTo>
                    <a:pt x="173" y="0"/>
                    <a:pt x="173" y="0"/>
                    <a:pt x="173" y="0"/>
                  </a:cubicBezTo>
                  <a:cubicBezTo>
                    <a:pt x="175" y="0"/>
                    <a:pt x="178" y="2"/>
                    <a:pt x="180" y="4"/>
                  </a:cubicBezTo>
                  <a:cubicBezTo>
                    <a:pt x="181" y="5"/>
                    <a:pt x="182" y="8"/>
                    <a:pt x="182" y="11"/>
                  </a:cubicBezTo>
                  <a:cubicBezTo>
                    <a:pt x="171" y="138"/>
                    <a:pt x="171" y="138"/>
                    <a:pt x="171" y="138"/>
                  </a:cubicBezTo>
                  <a:cubicBezTo>
                    <a:pt x="170" y="143"/>
                    <a:pt x="165" y="148"/>
                    <a:pt x="160" y="148"/>
                  </a:cubicBezTo>
                  <a:close/>
                  <a:moveTo>
                    <a:pt x="23" y="4"/>
                  </a:moveTo>
                  <a:cubicBezTo>
                    <a:pt x="19" y="4"/>
                    <a:pt x="16" y="7"/>
                    <a:pt x="16" y="11"/>
                  </a:cubicBezTo>
                  <a:cubicBezTo>
                    <a:pt x="4" y="138"/>
                    <a:pt x="4" y="138"/>
                    <a:pt x="4" y="138"/>
                  </a:cubicBezTo>
                  <a:cubicBezTo>
                    <a:pt x="4" y="139"/>
                    <a:pt x="5" y="141"/>
                    <a:pt x="6" y="142"/>
                  </a:cubicBezTo>
                  <a:cubicBezTo>
                    <a:pt x="7" y="143"/>
                    <a:pt x="8" y="144"/>
                    <a:pt x="10" y="144"/>
                  </a:cubicBezTo>
                  <a:cubicBezTo>
                    <a:pt x="160" y="144"/>
                    <a:pt x="160" y="144"/>
                    <a:pt x="160" y="144"/>
                  </a:cubicBezTo>
                  <a:cubicBezTo>
                    <a:pt x="163" y="144"/>
                    <a:pt x="166" y="141"/>
                    <a:pt x="167" y="137"/>
                  </a:cubicBezTo>
                  <a:cubicBezTo>
                    <a:pt x="178" y="10"/>
                    <a:pt x="178" y="10"/>
                    <a:pt x="178" y="10"/>
                  </a:cubicBezTo>
                  <a:cubicBezTo>
                    <a:pt x="178" y="9"/>
                    <a:pt x="178" y="7"/>
                    <a:pt x="177" y="6"/>
                  </a:cubicBezTo>
                  <a:cubicBezTo>
                    <a:pt x="176" y="5"/>
                    <a:pt x="174" y="4"/>
                    <a:pt x="173" y="4"/>
                  </a:cubicBezTo>
                  <a:lnTo>
                    <a:pt x="23" y="4"/>
                  </a:ln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7" name="任意多边形 206"/>
            <p:cNvSpPr/>
            <p:nvPr/>
          </p:nvSpPr>
          <p:spPr bwMode="auto">
            <a:xfrm>
              <a:off x="6862763" y="2028825"/>
              <a:ext cx="565150" cy="12700"/>
            </a:xfrm>
            <a:custGeom>
              <a:avLst/>
              <a:gdLst>
                <a:gd name="T0" fmla="*/ 169 w 171"/>
                <a:gd name="T1" fmla="*/ 4 h 4"/>
                <a:gd name="T2" fmla="*/ 2 w 171"/>
                <a:gd name="T3" fmla="*/ 4 h 4"/>
                <a:gd name="T4" fmla="*/ 0 w 171"/>
                <a:gd name="T5" fmla="*/ 2 h 4"/>
                <a:gd name="T6" fmla="*/ 2 w 171"/>
                <a:gd name="T7" fmla="*/ 0 h 4"/>
                <a:gd name="T8" fmla="*/ 169 w 171"/>
                <a:gd name="T9" fmla="*/ 0 h 4"/>
                <a:gd name="T10" fmla="*/ 171 w 171"/>
                <a:gd name="T11" fmla="*/ 2 h 4"/>
                <a:gd name="T12" fmla="*/ 169 w 171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1" h="4">
                  <a:moveTo>
                    <a:pt x="169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70" y="0"/>
                    <a:pt x="171" y="1"/>
                    <a:pt x="171" y="2"/>
                  </a:cubicBezTo>
                  <a:cubicBezTo>
                    <a:pt x="171" y="3"/>
                    <a:pt x="170" y="4"/>
                    <a:pt x="169" y="4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8" name="任意多边形 207"/>
            <p:cNvSpPr/>
            <p:nvPr/>
          </p:nvSpPr>
          <p:spPr bwMode="auto">
            <a:xfrm>
              <a:off x="6962776" y="2028825"/>
              <a:ext cx="46038" cy="376238"/>
            </a:xfrm>
            <a:custGeom>
              <a:avLst/>
              <a:gdLst>
                <a:gd name="T0" fmla="*/ 2 w 14"/>
                <a:gd name="T1" fmla="*/ 114 h 114"/>
                <a:gd name="T2" fmla="*/ 2 w 14"/>
                <a:gd name="T3" fmla="*/ 114 h 114"/>
                <a:gd name="T4" fmla="*/ 0 w 14"/>
                <a:gd name="T5" fmla="*/ 112 h 114"/>
                <a:gd name="T6" fmla="*/ 10 w 14"/>
                <a:gd name="T7" fmla="*/ 2 h 114"/>
                <a:gd name="T8" fmla="*/ 12 w 14"/>
                <a:gd name="T9" fmla="*/ 0 h 114"/>
                <a:gd name="T10" fmla="*/ 14 w 14"/>
                <a:gd name="T11" fmla="*/ 2 h 114"/>
                <a:gd name="T12" fmla="*/ 4 w 14"/>
                <a:gd name="T13" fmla="*/ 112 h 114"/>
                <a:gd name="T14" fmla="*/ 2 w 14"/>
                <a:gd name="T15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14">
                  <a:moveTo>
                    <a:pt x="2" y="114"/>
                  </a:moveTo>
                  <a:cubicBezTo>
                    <a:pt x="2" y="114"/>
                    <a:pt x="2" y="114"/>
                    <a:pt x="2" y="114"/>
                  </a:cubicBezTo>
                  <a:cubicBezTo>
                    <a:pt x="1" y="114"/>
                    <a:pt x="0" y="113"/>
                    <a:pt x="0" y="11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1"/>
                    <a:pt x="11" y="0"/>
                    <a:pt x="12" y="0"/>
                  </a:cubicBezTo>
                  <a:cubicBezTo>
                    <a:pt x="13" y="0"/>
                    <a:pt x="14" y="1"/>
                    <a:pt x="14" y="2"/>
                  </a:cubicBezTo>
                  <a:cubicBezTo>
                    <a:pt x="4" y="112"/>
                    <a:pt x="4" y="112"/>
                    <a:pt x="4" y="112"/>
                  </a:cubicBezTo>
                  <a:cubicBezTo>
                    <a:pt x="4" y="113"/>
                    <a:pt x="3" y="114"/>
                    <a:pt x="2" y="114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9" name="任意多边形 208"/>
            <p:cNvSpPr/>
            <p:nvPr/>
          </p:nvSpPr>
          <p:spPr bwMode="auto">
            <a:xfrm>
              <a:off x="7051676" y="2071688"/>
              <a:ext cx="309563" cy="12700"/>
            </a:xfrm>
            <a:custGeom>
              <a:avLst/>
              <a:gdLst>
                <a:gd name="T0" fmla="*/ 92 w 94"/>
                <a:gd name="T1" fmla="*/ 4 h 4"/>
                <a:gd name="T2" fmla="*/ 2 w 94"/>
                <a:gd name="T3" fmla="*/ 4 h 4"/>
                <a:gd name="T4" fmla="*/ 0 w 94"/>
                <a:gd name="T5" fmla="*/ 2 h 4"/>
                <a:gd name="T6" fmla="*/ 2 w 94"/>
                <a:gd name="T7" fmla="*/ 0 h 4"/>
                <a:gd name="T8" fmla="*/ 92 w 94"/>
                <a:gd name="T9" fmla="*/ 0 h 4"/>
                <a:gd name="T10" fmla="*/ 94 w 94"/>
                <a:gd name="T11" fmla="*/ 2 h 4"/>
                <a:gd name="T12" fmla="*/ 92 w 94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" h="4">
                  <a:moveTo>
                    <a:pt x="92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3" y="0"/>
                    <a:pt x="94" y="1"/>
                    <a:pt x="94" y="2"/>
                  </a:cubicBezTo>
                  <a:cubicBezTo>
                    <a:pt x="94" y="3"/>
                    <a:pt x="93" y="4"/>
                    <a:pt x="92" y="4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0" name="任意多边形 209"/>
            <p:cNvSpPr/>
            <p:nvPr/>
          </p:nvSpPr>
          <p:spPr bwMode="auto">
            <a:xfrm>
              <a:off x="7048501" y="2124075"/>
              <a:ext cx="266700" cy="12700"/>
            </a:xfrm>
            <a:custGeom>
              <a:avLst/>
              <a:gdLst>
                <a:gd name="T0" fmla="*/ 79 w 81"/>
                <a:gd name="T1" fmla="*/ 4 h 4"/>
                <a:gd name="T2" fmla="*/ 2 w 81"/>
                <a:gd name="T3" fmla="*/ 4 h 4"/>
                <a:gd name="T4" fmla="*/ 0 w 81"/>
                <a:gd name="T5" fmla="*/ 2 h 4"/>
                <a:gd name="T6" fmla="*/ 2 w 81"/>
                <a:gd name="T7" fmla="*/ 0 h 4"/>
                <a:gd name="T8" fmla="*/ 79 w 81"/>
                <a:gd name="T9" fmla="*/ 0 h 4"/>
                <a:gd name="T10" fmla="*/ 81 w 81"/>
                <a:gd name="T11" fmla="*/ 2 h 4"/>
                <a:gd name="T12" fmla="*/ 79 w 81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4">
                  <a:moveTo>
                    <a:pt x="79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1"/>
                    <a:pt x="0" y="0"/>
                    <a:pt x="2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80" y="0"/>
                    <a:pt x="81" y="1"/>
                    <a:pt x="81" y="2"/>
                  </a:cubicBezTo>
                  <a:cubicBezTo>
                    <a:pt x="81" y="3"/>
                    <a:pt x="80" y="4"/>
                    <a:pt x="79" y="4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1" name="任意多边形 210"/>
            <p:cNvSpPr/>
            <p:nvPr/>
          </p:nvSpPr>
          <p:spPr bwMode="auto">
            <a:xfrm>
              <a:off x="7040563" y="2179638"/>
              <a:ext cx="161925" cy="14288"/>
            </a:xfrm>
            <a:custGeom>
              <a:avLst/>
              <a:gdLst>
                <a:gd name="T0" fmla="*/ 47 w 49"/>
                <a:gd name="T1" fmla="*/ 4 h 4"/>
                <a:gd name="T2" fmla="*/ 2 w 49"/>
                <a:gd name="T3" fmla="*/ 4 h 4"/>
                <a:gd name="T4" fmla="*/ 0 w 49"/>
                <a:gd name="T5" fmla="*/ 2 h 4"/>
                <a:gd name="T6" fmla="*/ 2 w 49"/>
                <a:gd name="T7" fmla="*/ 0 h 4"/>
                <a:gd name="T8" fmla="*/ 47 w 49"/>
                <a:gd name="T9" fmla="*/ 0 h 4"/>
                <a:gd name="T10" fmla="*/ 49 w 49"/>
                <a:gd name="T11" fmla="*/ 2 h 4"/>
                <a:gd name="T12" fmla="*/ 47 w 49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4">
                  <a:moveTo>
                    <a:pt x="47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8" y="0"/>
                    <a:pt x="49" y="1"/>
                    <a:pt x="49" y="2"/>
                  </a:cubicBezTo>
                  <a:cubicBezTo>
                    <a:pt x="49" y="3"/>
                    <a:pt x="48" y="4"/>
                    <a:pt x="47" y="4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2" name="任意多边形 211"/>
            <p:cNvSpPr/>
            <p:nvPr/>
          </p:nvSpPr>
          <p:spPr bwMode="auto">
            <a:xfrm>
              <a:off x="7031038" y="2286000"/>
              <a:ext cx="195263" cy="12700"/>
            </a:xfrm>
            <a:custGeom>
              <a:avLst/>
              <a:gdLst>
                <a:gd name="T0" fmla="*/ 57 w 59"/>
                <a:gd name="T1" fmla="*/ 4 h 4"/>
                <a:gd name="T2" fmla="*/ 2 w 59"/>
                <a:gd name="T3" fmla="*/ 4 h 4"/>
                <a:gd name="T4" fmla="*/ 0 w 59"/>
                <a:gd name="T5" fmla="*/ 2 h 4"/>
                <a:gd name="T6" fmla="*/ 2 w 59"/>
                <a:gd name="T7" fmla="*/ 0 h 4"/>
                <a:gd name="T8" fmla="*/ 57 w 59"/>
                <a:gd name="T9" fmla="*/ 0 h 4"/>
                <a:gd name="T10" fmla="*/ 59 w 59"/>
                <a:gd name="T11" fmla="*/ 2 h 4"/>
                <a:gd name="T12" fmla="*/ 57 w 59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4">
                  <a:moveTo>
                    <a:pt x="57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8" y="0"/>
                    <a:pt x="59" y="1"/>
                    <a:pt x="59" y="2"/>
                  </a:cubicBezTo>
                  <a:cubicBezTo>
                    <a:pt x="59" y="3"/>
                    <a:pt x="58" y="4"/>
                    <a:pt x="57" y="4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3" name="任意多边形 212"/>
            <p:cNvSpPr/>
            <p:nvPr/>
          </p:nvSpPr>
          <p:spPr bwMode="auto">
            <a:xfrm>
              <a:off x="7027863" y="2338388"/>
              <a:ext cx="161925" cy="12700"/>
            </a:xfrm>
            <a:custGeom>
              <a:avLst/>
              <a:gdLst>
                <a:gd name="T0" fmla="*/ 47 w 49"/>
                <a:gd name="T1" fmla="*/ 4 h 4"/>
                <a:gd name="T2" fmla="*/ 2 w 49"/>
                <a:gd name="T3" fmla="*/ 4 h 4"/>
                <a:gd name="T4" fmla="*/ 0 w 49"/>
                <a:gd name="T5" fmla="*/ 2 h 4"/>
                <a:gd name="T6" fmla="*/ 2 w 49"/>
                <a:gd name="T7" fmla="*/ 0 h 4"/>
                <a:gd name="T8" fmla="*/ 47 w 49"/>
                <a:gd name="T9" fmla="*/ 0 h 4"/>
                <a:gd name="T10" fmla="*/ 49 w 49"/>
                <a:gd name="T11" fmla="*/ 2 h 4"/>
                <a:gd name="T12" fmla="*/ 47 w 49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4">
                  <a:moveTo>
                    <a:pt x="47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8" y="0"/>
                    <a:pt x="49" y="1"/>
                    <a:pt x="49" y="2"/>
                  </a:cubicBezTo>
                  <a:cubicBezTo>
                    <a:pt x="49" y="3"/>
                    <a:pt x="48" y="4"/>
                    <a:pt x="47" y="4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4" name="任意多边形 213"/>
            <p:cNvSpPr/>
            <p:nvPr/>
          </p:nvSpPr>
          <p:spPr bwMode="auto">
            <a:xfrm>
              <a:off x="7216776" y="2338388"/>
              <a:ext cx="58738" cy="12700"/>
            </a:xfrm>
            <a:custGeom>
              <a:avLst/>
              <a:gdLst>
                <a:gd name="T0" fmla="*/ 16 w 18"/>
                <a:gd name="T1" fmla="*/ 4 h 4"/>
                <a:gd name="T2" fmla="*/ 2 w 18"/>
                <a:gd name="T3" fmla="*/ 4 h 4"/>
                <a:gd name="T4" fmla="*/ 0 w 18"/>
                <a:gd name="T5" fmla="*/ 2 h 4"/>
                <a:gd name="T6" fmla="*/ 2 w 18"/>
                <a:gd name="T7" fmla="*/ 0 h 4"/>
                <a:gd name="T8" fmla="*/ 16 w 18"/>
                <a:gd name="T9" fmla="*/ 0 h 4"/>
                <a:gd name="T10" fmla="*/ 18 w 18"/>
                <a:gd name="T11" fmla="*/ 2 h 4"/>
                <a:gd name="T12" fmla="*/ 16 w 1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4">
                  <a:moveTo>
                    <a:pt x="1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7" y="0"/>
                    <a:pt x="18" y="1"/>
                    <a:pt x="18" y="2"/>
                  </a:cubicBezTo>
                  <a:cubicBezTo>
                    <a:pt x="18" y="3"/>
                    <a:pt x="17" y="4"/>
                    <a:pt x="16" y="4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5" name="任意多边形 214"/>
            <p:cNvSpPr/>
            <p:nvPr/>
          </p:nvSpPr>
          <p:spPr bwMode="auto">
            <a:xfrm>
              <a:off x="7037388" y="2233613"/>
              <a:ext cx="290513" cy="12700"/>
            </a:xfrm>
            <a:custGeom>
              <a:avLst/>
              <a:gdLst>
                <a:gd name="T0" fmla="*/ 86 w 88"/>
                <a:gd name="T1" fmla="*/ 4 h 4"/>
                <a:gd name="T2" fmla="*/ 2 w 88"/>
                <a:gd name="T3" fmla="*/ 4 h 4"/>
                <a:gd name="T4" fmla="*/ 0 w 88"/>
                <a:gd name="T5" fmla="*/ 2 h 4"/>
                <a:gd name="T6" fmla="*/ 2 w 88"/>
                <a:gd name="T7" fmla="*/ 0 h 4"/>
                <a:gd name="T8" fmla="*/ 86 w 88"/>
                <a:gd name="T9" fmla="*/ 0 h 4"/>
                <a:gd name="T10" fmla="*/ 88 w 88"/>
                <a:gd name="T11" fmla="*/ 2 h 4"/>
                <a:gd name="T12" fmla="*/ 86 w 8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4">
                  <a:moveTo>
                    <a:pt x="8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7" y="0"/>
                    <a:pt x="88" y="1"/>
                    <a:pt x="88" y="2"/>
                  </a:cubicBezTo>
                  <a:cubicBezTo>
                    <a:pt x="88" y="3"/>
                    <a:pt x="87" y="4"/>
                    <a:pt x="86" y="4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6" name="任意多边形 215"/>
            <p:cNvSpPr/>
            <p:nvPr/>
          </p:nvSpPr>
          <p:spPr bwMode="auto">
            <a:xfrm>
              <a:off x="6329363" y="2273300"/>
              <a:ext cx="52388" cy="88900"/>
            </a:xfrm>
            <a:custGeom>
              <a:avLst/>
              <a:gdLst>
                <a:gd name="T0" fmla="*/ 3 w 16"/>
                <a:gd name="T1" fmla="*/ 27 h 27"/>
                <a:gd name="T2" fmla="*/ 1 w 16"/>
                <a:gd name="T3" fmla="*/ 27 h 27"/>
                <a:gd name="T4" fmla="*/ 1 w 16"/>
                <a:gd name="T5" fmla="*/ 24 h 27"/>
                <a:gd name="T6" fmla="*/ 11 w 16"/>
                <a:gd name="T7" fmla="*/ 14 h 27"/>
                <a:gd name="T8" fmla="*/ 1 w 16"/>
                <a:gd name="T9" fmla="*/ 4 h 27"/>
                <a:gd name="T10" fmla="*/ 1 w 16"/>
                <a:gd name="T11" fmla="*/ 1 h 27"/>
                <a:gd name="T12" fmla="*/ 4 w 16"/>
                <a:gd name="T13" fmla="*/ 1 h 27"/>
                <a:gd name="T14" fmla="*/ 15 w 16"/>
                <a:gd name="T15" fmla="*/ 12 h 27"/>
                <a:gd name="T16" fmla="*/ 15 w 16"/>
                <a:gd name="T17" fmla="*/ 15 h 27"/>
                <a:gd name="T18" fmla="*/ 4 w 16"/>
                <a:gd name="T19" fmla="*/ 27 h 27"/>
                <a:gd name="T20" fmla="*/ 3 w 16"/>
                <a:gd name="T21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27">
                  <a:moveTo>
                    <a:pt x="3" y="27"/>
                  </a:moveTo>
                  <a:cubicBezTo>
                    <a:pt x="2" y="27"/>
                    <a:pt x="2" y="27"/>
                    <a:pt x="1" y="27"/>
                  </a:cubicBezTo>
                  <a:cubicBezTo>
                    <a:pt x="0" y="26"/>
                    <a:pt x="0" y="25"/>
                    <a:pt x="1" y="2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6" y="13"/>
                    <a:pt x="16" y="14"/>
                    <a:pt x="15" y="15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3" y="27"/>
                    <a:pt x="3" y="2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7" name="任意多边形 216"/>
            <p:cNvSpPr/>
            <p:nvPr/>
          </p:nvSpPr>
          <p:spPr bwMode="auto">
            <a:xfrm>
              <a:off x="6180138" y="2273300"/>
              <a:ext cx="52388" cy="88900"/>
            </a:xfrm>
            <a:custGeom>
              <a:avLst/>
              <a:gdLst>
                <a:gd name="T0" fmla="*/ 13 w 16"/>
                <a:gd name="T1" fmla="*/ 27 h 27"/>
                <a:gd name="T2" fmla="*/ 12 w 16"/>
                <a:gd name="T3" fmla="*/ 27 h 27"/>
                <a:gd name="T4" fmla="*/ 1 w 16"/>
                <a:gd name="T5" fmla="*/ 15 h 27"/>
                <a:gd name="T6" fmla="*/ 1 w 16"/>
                <a:gd name="T7" fmla="*/ 12 h 27"/>
                <a:gd name="T8" fmla="*/ 12 w 16"/>
                <a:gd name="T9" fmla="*/ 1 h 27"/>
                <a:gd name="T10" fmla="*/ 15 w 16"/>
                <a:gd name="T11" fmla="*/ 1 h 27"/>
                <a:gd name="T12" fmla="*/ 15 w 16"/>
                <a:gd name="T13" fmla="*/ 4 h 27"/>
                <a:gd name="T14" fmla="*/ 5 w 16"/>
                <a:gd name="T15" fmla="*/ 14 h 27"/>
                <a:gd name="T16" fmla="*/ 15 w 16"/>
                <a:gd name="T17" fmla="*/ 24 h 27"/>
                <a:gd name="T18" fmla="*/ 15 w 16"/>
                <a:gd name="T19" fmla="*/ 27 h 27"/>
                <a:gd name="T20" fmla="*/ 13 w 16"/>
                <a:gd name="T21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27">
                  <a:moveTo>
                    <a:pt x="13" y="27"/>
                  </a:moveTo>
                  <a:cubicBezTo>
                    <a:pt x="13" y="27"/>
                    <a:pt x="12" y="27"/>
                    <a:pt x="12" y="27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0" y="14"/>
                    <a:pt x="0" y="13"/>
                    <a:pt x="1" y="12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6" y="2"/>
                    <a:pt x="16" y="3"/>
                    <a:pt x="15" y="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6" y="25"/>
                    <a:pt x="16" y="26"/>
                    <a:pt x="15" y="27"/>
                  </a:cubicBezTo>
                  <a:cubicBezTo>
                    <a:pt x="14" y="27"/>
                    <a:pt x="14" y="27"/>
                    <a:pt x="13" y="2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8" name="任意多边形 217"/>
            <p:cNvSpPr/>
            <p:nvPr/>
          </p:nvSpPr>
          <p:spPr bwMode="auto">
            <a:xfrm>
              <a:off x="6259513" y="2273300"/>
              <a:ext cx="42863" cy="88900"/>
            </a:xfrm>
            <a:custGeom>
              <a:avLst/>
              <a:gdLst>
                <a:gd name="T0" fmla="*/ 2 w 13"/>
                <a:gd name="T1" fmla="*/ 27 h 27"/>
                <a:gd name="T2" fmla="*/ 2 w 13"/>
                <a:gd name="T3" fmla="*/ 27 h 27"/>
                <a:gd name="T4" fmla="*/ 0 w 13"/>
                <a:gd name="T5" fmla="*/ 25 h 27"/>
                <a:gd name="T6" fmla="*/ 9 w 13"/>
                <a:gd name="T7" fmla="*/ 2 h 27"/>
                <a:gd name="T8" fmla="*/ 11 w 13"/>
                <a:gd name="T9" fmla="*/ 1 h 27"/>
                <a:gd name="T10" fmla="*/ 13 w 13"/>
                <a:gd name="T11" fmla="*/ 3 h 27"/>
                <a:gd name="T12" fmla="*/ 4 w 13"/>
                <a:gd name="T13" fmla="*/ 26 h 27"/>
                <a:gd name="T14" fmla="*/ 2 w 13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27">
                  <a:moveTo>
                    <a:pt x="2" y="27"/>
                  </a:moveTo>
                  <a:cubicBezTo>
                    <a:pt x="2" y="27"/>
                    <a:pt x="2" y="27"/>
                    <a:pt x="2" y="27"/>
                  </a:cubicBezTo>
                  <a:cubicBezTo>
                    <a:pt x="0" y="27"/>
                    <a:pt x="0" y="26"/>
                    <a:pt x="0" y="25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10" y="0"/>
                    <a:pt x="11" y="1"/>
                  </a:cubicBezTo>
                  <a:cubicBezTo>
                    <a:pt x="12" y="1"/>
                    <a:pt x="13" y="2"/>
                    <a:pt x="13" y="3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7"/>
                    <a:pt x="3" y="27"/>
                    <a:pt x="2" y="2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9" name="任意多边形 218"/>
            <p:cNvSpPr/>
            <p:nvPr/>
          </p:nvSpPr>
          <p:spPr bwMode="auto">
            <a:xfrm>
              <a:off x="7173913" y="3244850"/>
              <a:ext cx="49213" cy="88900"/>
            </a:xfrm>
            <a:custGeom>
              <a:avLst/>
              <a:gdLst>
                <a:gd name="T0" fmla="*/ 2 w 15"/>
                <a:gd name="T1" fmla="*/ 27 h 27"/>
                <a:gd name="T2" fmla="*/ 0 w 15"/>
                <a:gd name="T3" fmla="*/ 27 h 27"/>
                <a:gd name="T4" fmla="*/ 0 w 15"/>
                <a:gd name="T5" fmla="*/ 24 h 27"/>
                <a:gd name="T6" fmla="*/ 10 w 15"/>
                <a:gd name="T7" fmla="*/ 14 h 27"/>
                <a:gd name="T8" fmla="*/ 0 w 15"/>
                <a:gd name="T9" fmla="*/ 4 h 27"/>
                <a:gd name="T10" fmla="*/ 0 w 15"/>
                <a:gd name="T11" fmla="*/ 1 h 27"/>
                <a:gd name="T12" fmla="*/ 3 w 15"/>
                <a:gd name="T13" fmla="*/ 1 h 27"/>
                <a:gd name="T14" fmla="*/ 15 w 15"/>
                <a:gd name="T15" fmla="*/ 13 h 27"/>
                <a:gd name="T16" fmla="*/ 15 w 15"/>
                <a:gd name="T17" fmla="*/ 14 h 27"/>
                <a:gd name="T18" fmla="*/ 15 w 15"/>
                <a:gd name="T19" fmla="*/ 15 h 27"/>
                <a:gd name="T20" fmla="*/ 3 w 15"/>
                <a:gd name="T21" fmla="*/ 27 h 27"/>
                <a:gd name="T22" fmla="*/ 2 w 15"/>
                <a:gd name="T23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" h="27">
                  <a:moveTo>
                    <a:pt x="2" y="27"/>
                  </a:moveTo>
                  <a:cubicBezTo>
                    <a:pt x="1" y="27"/>
                    <a:pt x="1" y="27"/>
                    <a:pt x="0" y="27"/>
                  </a:cubicBezTo>
                  <a:cubicBezTo>
                    <a:pt x="0" y="26"/>
                    <a:pt x="0" y="25"/>
                    <a:pt x="0" y="2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1" y="0"/>
                    <a:pt x="2" y="0"/>
                    <a:pt x="3" y="1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3"/>
                    <a:pt x="15" y="13"/>
                    <a:pt x="15" y="14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27"/>
                    <a:pt x="2" y="27"/>
                    <a:pt x="2" y="27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0" name="任意多边形 219"/>
            <p:cNvSpPr/>
            <p:nvPr/>
          </p:nvSpPr>
          <p:spPr bwMode="auto">
            <a:xfrm>
              <a:off x="7021513" y="3244850"/>
              <a:ext cx="52388" cy="88900"/>
            </a:xfrm>
            <a:custGeom>
              <a:avLst/>
              <a:gdLst>
                <a:gd name="T0" fmla="*/ 14 w 16"/>
                <a:gd name="T1" fmla="*/ 27 h 27"/>
                <a:gd name="T2" fmla="*/ 12 w 16"/>
                <a:gd name="T3" fmla="*/ 27 h 27"/>
                <a:gd name="T4" fmla="*/ 1 w 16"/>
                <a:gd name="T5" fmla="*/ 15 h 27"/>
                <a:gd name="T6" fmla="*/ 1 w 16"/>
                <a:gd name="T7" fmla="*/ 13 h 27"/>
                <a:gd name="T8" fmla="*/ 12 w 16"/>
                <a:gd name="T9" fmla="*/ 1 h 27"/>
                <a:gd name="T10" fmla="*/ 15 w 16"/>
                <a:gd name="T11" fmla="*/ 1 h 27"/>
                <a:gd name="T12" fmla="*/ 15 w 16"/>
                <a:gd name="T13" fmla="*/ 4 h 27"/>
                <a:gd name="T14" fmla="*/ 5 w 16"/>
                <a:gd name="T15" fmla="*/ 14 h 27"/>
                <a:gd name="T16" fmla="*/ 15 w 16"/>
                <a:gd name="T17" fmla="*/ 24 h 27"/>
                <a:gd name="T18" fmla="*/ 15 w 16"/>
                <a:gd name="T19" fmla="*/ 27 h 27"/>
                <a:gd name="T20" fmla="*/ 14 w 16"/>
                <a:gd name="T21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27">
                  <a:moveTo>
                    <a:pt x="14" y="27"/>
                  </a:moveTo>
                  <a:cubicBezTo>
                    <a:pt x="13" y="27"/>
                    <a:pt x="13" y="27"/>
                    <a:pt x="12" y="27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0" y="15"/>
                    <a:pt x="0" y="13"/>
                    <a:pt x="1" y="13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6" y="2"/>
                    <a:pt x="16" y="3"/>
                    <a:pt x="15" y="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6" y="25"/>
                    <a:pt x="16" y="26"/>
                    <a:pt x="15" y="27"/>
                  </a:cubicBezTo>
                  <a:cubicBezTo>
                    <a:pt x="15" y="27"/>
                    <a:pt x="14" y="27"/>
                    <a:pt x="14" y="27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1" name="任意多边形 220"/>
            <p:cNvSpPr/>
            <p:nvPr/>
          </p:nvSpPr>
          <p:spPr bwMode="auto">
            <a:xfrm>
              <a:off x="7100888" y="3244850"/>
              <a:ext cx="42863" cy="88900"/>
            </a:xfrm>
            <a:custGeom>
              <a:avLst/>
              <a:gdLst>
                <a:gd name="T0" fmla="*/ 2 w 13"/>
                <a:gd name="T1" fmla="*/ 27 h 27"/>
                <a:gd name="T2" fmla="*/ 2 w 13"/>
                <a:gd name="T3" fmla="*/ 27 h 27"/>
                <a:gd name="T4" fmla="*/ 1 w 13"/>
                <a:gd name="T5" fmla="*/ 25 h 27"/>
                <a:gd name="T6" fmla="*/ 9 w 13"/>
                <a:gd name="T7" fmla="*/ 2 h 27"/>
                <a:gd name="T8" fmla="*/ 12 w 13"/>
                <a:gd name="T9" fmla="*/ 1 h 27"/>
                <a:gd name="T10" fmla="*/ 13 w 13"/>
                <a:gd name="T11" fmla="*/ 3 h 27"/>
                <a:gd name="T12" fmla="*/ 4 w 13"/>
                <a:gd name="T13" fmla="*/ 26 h 27"/>
                <a:gd name="T14" fmla="*/ 2 w 13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27">
                  <a:moveTo>
                    <a:pt x="2" y="27"/>
                  </a:moveTo>
                  <a:cubicBezTo>
                    <a:pt x="2" y="27"/>
                    <a:pt x="2" y="27"/>
                    <a:pt x="2" y="27"/>
                  </a:cubicBezTo>
                  <a:cubicBezTo>
                    <a:pt x="1" y="27"/>
                    <a:pt x="0" y="26"/>
                    <a:pt x="1" y="25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11" y="0"/>
                    <a:pt x="12" y="1"/>
                  </a:cubicBezTo>
                  <a:cubicBezTo>
                    <a:pt x="13" y="1"/>
                    <a:pt x="13" y="2"/>
                    <a:pt x="13" y="3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7"/>
                    <a:pt x="3" y="27"/>
                    <a:pt x="2" y="27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2" name="任意多边形 221"/>
            <p:cNvSpPr/>
            <p:nvPr/>
          </p:nvSpPr>
          <p:spPr bwMode="auto">
            <a:xfrm>
              <a:off x="6872288" y="1752600"/>
              <a:ext cx="53975" cy="88900"/>
            </a:xfrm>
            <a:custGeom>
              <a:avLst/>
              <a:gdLst>
                <a:gd name="T0" fmla="*/ 2 w 16"/>
                <a:gd name="T1" fmla="*/ 27 h 27"/>
                <a:gd name="T2" fmla="*/ 1 w 16"/>
                <a:gd name="T3" fmla="*/ 26 h 27"/>
                <a:gd name="T4" fmla="*/ 1 w 16"/>
                <a:gd name="T5" fmla="*/ 23 h 27"/>
                <a:gd name="T6" fmla="*/ 11 w 16"/>
                <a:gd name="T7" fmla="*/ 13 h 27"/>
                <a:gd name="T8" fmla="*/ 1 w 16"/>
                <a:gd name="T9" fmla="*/ 3 h 27"/>
                <a:gd name="T10" fmla="*/ 1 w 16"/>
                <a:gd name="T11" fmla="*/ 1 h 27"/>
                <a:gd name="T12" fmla="*/ 4 w 16"/>
                <a:gd name="T13" fmla="*/ 1 h 27"/>
                <a:gd name="T14" fmla="*/ 15 w 16"/>
                <a:gd name="T15" fmla="*/ 12 h 27"/>
                <a:gd name="T16" fmla="*/ 15 w 16"/>
                <a:gd name="T17" fmla="*/ 15 h 27"/>
                <a:gd name="T18" fmla="*/ 4 w 16"/>
                <a:gd name="T19" fmla="*/ 26 h 27"/>
                <a:gd name="T20" fmla="*/ 2 w 16"/>
                <a:gd name="T21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27">
                  <a:moveTo>
                    <a:pt x="2" y="27"/>
                  </a:moveTo>
                  <a:cubicBezTo>
                    <a:pt x="2" y="27"/>
                    <a:pt x="1" y="27"/>
                    <a:pt x="1" y="26"/>
                  </a:cubicBezTo>
                  <a:cubicBezTo>
                    <a:pt x="0" y="25"/>
                    <a:pt x="0" y="24"/>
                    <a:pt x="1" y="2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6" y="13"/>
                    <a:pt x="16" y="14"/>
                    <a:pt x="15" y="15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3" y="27"/>
                    <a:pt x="3" y="27"/>
                    <a:pt x="2" y="27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3" name="任意多边形 222"/>
            <p:cNvSpPr/>
            <p:nvPr/>
          </p:nvSpPr>
          <p:spPr bwMode="auto">
            <a:xfrm>
              <a:off x="6724651" y="1752600"/>
              <a:ext cx="49213" cy="88900"/>
            </a:xfrm>
            <a:custGeom>
              <a:avLst/>
              <a:gdLst>
                <a:gd name="T0" fmla="*/ 13 w 15"/>
                <a:gd name="T1" fmla="*/ 27 h 27"/>
                <a:gd name="T2" fmla="*/ 12 w 15"/>
                <a:gd name="T3" fmla="*/ 26 h 27"/>
                <a:gd name="T4" fmla="*/ 0 w 15"/>
                <a:gd name="T5" fmla="*/ 15 h 27"/>
                <a:gd name="T6" fmla="*/ 0 w 15"/>
                <a:gd name="T7" fmla="*/ 12 h 27"/>
                <a:gd name="T8" fmla="*/ 12 w 15"/>
                <a:gd name="T9" fmla="*/ 1 h 27"/>
                <a:gd name="T10" fmla="*/ 15 w 15"/>
                <a:gd name="T11" fmla="*/ 1 h 27"/>
                <a:gd name="T12" fmla="*/ 15 w 15"/>
                <a:gd name="T13" fmla="*/ 3 h 27"/>
                <a:gd name="T14" fmla="*/ 5 w 15"/>
                <a:gd name="T15" fmla="*/ 13 h 27"/>
                <a:gd name="T16" fmla="*/ 15 w 15"/>
                <a:gd name="T17" fmla="*/ 23 h 27"/>
                <a:gd name="T18" fmla="*/ 15 w 15"/>
                <a:gd name="T19" fmla="*/ 26 h 27"/>
                <a:gd name="T20" fmla="*/ 13 w 15"/>
                <a:gd name="T21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" h="27">
                  <a:moveTo>
                    <a:pt x="13" y="27"/>
                  </a:moveTo>
                  <a:cubicBezTo>
                    <a:pt x="13" y="27"/>
                    <a:pt x="12" y="27"/>
                    <a:pt x="12" y="2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5" y="1"/>
                    <a:pt x="15" y="3"/>
                    <a:pt x="15" y="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24"/>
                    <a:pt x="15" y="25"/>
                    <a:pt x="15" y="26"/>
                  </a:cubicBezTo>
                  <a:cubicBezTo>
                    <a:pt x="14" y="27"/>
                    <a:pt x="14" y="27"/>
                    <a:pt x="13" y="27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4" name="任意多边形 223"/>
            <p:cNvSpPr/>
            <p:nvPr/>
          </p:nvSpPr>
          <p:spPr bwMode="auto">
            <a:xfrm>
              <a:off x="6804026" y="1752600"/>
              <a:ext cx="42863" cy="88900"/>
            </a:xfrm>
            <a:custGeom>
              <a:avLst/>
              <a:gdLst>
                <a:gd name="T0" fmla="*/ 2 w 13"/>
                <a:gd name="T1" fmla="*/ 27 h 27"/>
                <a:gd name="T2" fmla="*/ 1 w 13"/>
                <a:gd name="T3" fmla="*/ 27 h 27"/>
                <a:gd name="T4" fmla="*/ 0 w 13"/>
                <a:gd name="T5" fmla="*/ 24 h 27"/>
                <a:gd name="T6" fmla="*/ 9 w 13"/>
                <a:gd name="T7" fmla="*/ 1 h 27"/>
                <a:gd name="T8" fmla="*/ 11 w 13"/>
                <a:gd name="T9" fmla="*/ 0 h 27"/>
                <a:gd name="T10" fmla="*/ 12 w 13"/>
                <a:gd name="T11" fmla="*/ 3 h 27"/>
                <a:gd name="T12" fmla="*/ 4 w 13"/>
                <a:gd name="T13" fmla="*/ 26 h 27"/>
                <a:gd name="T14" fmla="*/ 2 w 13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27">
                  <a:moveTo>
                    <a:pt x="2" y="27"/>
                  </a:moveTo>
                  <a:cubicBezTo>
                    <a:pt x="1" y="27"/>
                    <a:pt x="1" y="27"/>
                    <a:pt x="1" y="27"/>
                  </a:cubicBezTo>
                  <a:cubicBezTo>
                    <a:pt x="0" y="26"/>
                    <a:pt x="0" y="25"/>
                    <a:pt x="0" y="24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0"/>
                    <a:pt x="10" y="0"/>
                    <a:pt x="11" y="0"/>
                  </a:cubicBezTo>
                  <a:cubicBezTo>
                    <a:pt x="12" y="1"/>
                    <a:pt x="13" y="2"/>
                    <a:pt x="12" y="3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3" y="27"/>
                    <a:pt x="2" y="27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</p:spTree>
    <p:custDataLst>
      <p:tags r:id="rId1"/>
    </p:custData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本框 16"/>
          <p:cNvSpPr txBox="1"/>
          <p:nvPr/>
        </p:nvSpPr>
        <p:spPr>
          <a:xfrm>
            <a:off x="669923" y="915745"/>
            <a:ext cx="10850565" cy="628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3200" b="1" dirty="0">
                <a:latin typeface="+mj-lt"/>
                <a:ea typeface="+mj-ea"/>
              </a:rPr>
              <a:t>开源贡献</a:t>
            </a:r>
            <a:endParaRPr lang="zh-CN" altLang="en-US" sz="3200" b="1" dirty="0">
              <a:latin typeface="+mj-lt"/>
              <a:ea typeface="+mj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725805" y="2339975"/>
            <a:ext cx="5156835" cy="3194721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</a:bodyPr>
          <a:lstStyle/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en-US" altLang="zh-CN" sz="1400" b="1" dirty="0">
                <a:solidFill>
                  <a:schemeClr val="tx1"/>
                </a:solidFill>
                <a:uFillTx/>
                <a:latin typeface="+mj-ea"/>
                <a:ea typeface="+mj-ea"/>
              </a:rPr>
              <a:t>PG9.3.1</a:t>
            </a:r>
            <a:br>
              <a:rPr lang="en-US" altLang="zh-CN" sz="1400" dirty="0">
                <a:solidFill>
                  <a:schemeClr val="tx1"/>
                </a:solidFill>
                <a:uFillTx/>
                <a:latin typeface="+mj-ea"/>
                <a:ea typeface="+mj-ea"/>
              </a:rPr>
            </a:br>
            <a:r>
              <a:rPr lang="en-US" altLang="zh-CN" sz="1400" dirty="0">
                <a:solidFill>
                  <a:schemeClr val="tx1"/>
                </a:solidFill>
                <a:uFillTx/>
                <a:latin typeface="+mj-ea"/>
                <a:ea typeface="+mj-ea"/>
              </a:rPr>
              <a:t>http://www.postgres.cn/docs/9.3/index.html</a:t>
            </a:r>
            <a:endParaRPr lang="en-US" altLang="zh-CN" sz="1400" dirty="0">
              <a:solidFill>
                <a:schemeClr val="tx1"/>
              </a:solidFill>
              <a:uFillTx/>
              <a:latin typeface="+mj-ea"/>
              <a:ea typeface="+mj-ea"/>
            </a:endParaRPr>
          </a:p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en-US" altLang="zh-CN" sz="1400" b="1" dirty="0">
                <a:solidFill>
                  <a:schemeClr val="tx1"/>
                </a:solidFill>
                <a:uFillTx/>
                <a:latin typeface="+mj-ea"/>
                <a:ea typeface="+mj-ea"/>
              </a:rPr>
              <a:t>PG9.4.4</a:t>
            </a:r>
            <a:br>
              <a:rPr lang="en-US" altLang="zh-CN" sz="1400" dirty="0">
                <a:solidFill>
                  <a:schemeClr val="tx1"/>
                </a:solidFill>
                <a:uFillTx/>
                <a:latin typeface="+mj-ea"/>
                <a:ea typeface="+mj-ea"/>
              </a:rPr>
            </a:br>
            <a:r>
              <a:rPr lang="en-US" altLang="zh-CN" sz="1400" dirty="0">
                <a:solidFill>
                  <a:schemeClr val="tx1"/>
                </a:solidFill>
                <a:uFillTx/>
                <a:latin typeface="+mj-ea"/>
                <a:ea typeface="+mj-ea"/>
              </a:rPr>
              <a:t>http://postgres.cn/docs/9.4/</a:t>
            </a:r>
            <a:endParaRPr lang="en-US" altLang="zh-CN" sz="1400" dirty="0">
              <a:solidFill>
                <a:schemeClr val="tx1"/>
              </a:solidFill>
              <a:uFillTx/>
              <a:latin typeface="+mj-ea"/>
              <a:ea typeface="+mj-ea"/>
            </a:endParaRPr>
          </a:p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en-US" altLang="zh-CN" sz="1400" b="1" dirty="0">
                <a:solidFill>
                  <a:schemeClr val="tx1"/>
                </a:solidFill>
                <a:uFillTx/>
                <a:latin typeface="+mj-ea"/>
                <a:ea typeface="+mj-ea"/>
              </a:rPr>
              <a:t>PG.5.3</a:t>
            </a:r>
            <a:br>
              <a:rPr lang="en-US" altLang="zh-CN" sz="1400" dirty="0">
                <a:solidFill>
                  <a:schemeClr val="tx1"/>
                </a:solidFill>
                <a:uFillTx/>
                <a:latin typeface="+mj-ea"/>
                <a:ea typeface="+mj-ea"/>
              </a:rPr>
            </a:br>
            <a:r>
              <a:rPr lang="en-US" altLang="zh-CN" sz="1400" dirty="0">
                <a:solidFill>
                  <a:schemeClr val="tx1"/>
                </a:solidFill>
                <a:uFillTx/>
                <a:latin typeface="+mj-ea"/>
                <a:ea typeface="+mj-ea"/>
              </a:rPr>
              <a:t>http://postgres.cn/docs/9.5/</a:t>
            </a:r>
            <a:endParaRPr lang="en-US" altLang="zh-CN" sz="1400" dirty="0">
              <a:solidFill>
                <a:schemeClr val="tx1"/>
              </a:solidFill>
              <a:uFillTx/>
              <a:latin typeface="+mj-ea"/>
              <a:ea typeface="+mj-ea"/>
            </a:endParaRPr>
          </a:p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en-US" altLang="zh-CN" sz="1400" b="1" dirty="0">
                <a:solidFill>
                  <a:schemeClr val="tx1"/>
                </a:solidFill>
                <a:uFillTx/>
                <a:latin typeface="+mj-ea"/>
                <a:ea typeface="+mj-ea"/>
              </a:rPr>
              <a:t>PG9.6</a:t>
            </a:r>
            <a:br>
              <a:rPr lang="en-US" altLang="zh-CN" sz="1400" dirty="0">
                <a:solidFill>
                  <a:schemeClr val="tx1"/>
                </a:solidFill>
                <a:uFillTx/>
                <a:latin typeface="+mj-ea"/>
                <a:ea typeface="+mj-ea"/>
              </a:rPr>
            </a:br>
            <a:r>
              <a:rPr lang="en-US" altLang="zh-CN" sz="1400" dirty="0">
                <a:solidFill>
                  <a:schemeClr val="tx1"/>
                </a:solidFill>
                <a:uFillTx/>
                <a:latin typeface="+mj-ea"/>
                <a:ea typeface="+mj-ea"/>
              </a:rPr>
              <a:t>http://postgres.cn/docs/9.6/</a:t>
            </a:r>
            <a:endParaRPr lang="en-US" altLang="zh-CN" sz="1400" dirty="0">
              <a:solidFill>
                <a:schemeClr val="tx1"/>
              </a:solidFill>
              <a:uFillTx/>
              <a:latin typeface="+mj-ea"/>
              <a:ea typeface="+mj-ea"/>
            </a:endParaRPr>
          </a:p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en-US" altLang="zh-CN" sz="1400" b="1" dirty="0">
                <a:solidFill>
                  <a:schemeClr val="tx1"/>
                </a:solidFill>
                <a:uFillTx/>
                <a:latin typeface="+mj-ea"/>
                <a:ea typeface="+mj-ea"/>
              </a:rPr>
              <a:t>PG10.1</a:t>
            </a:r>
            <a:br>
              <a:rPr lang="en-US" altLang="zh-CN" sz="1400" dirty="0">
                <a:solidFill>
                  <a:schemeClr val="tx1"/>
                </a:solidFill>
                <a:uFillTx/>
                <a:latin typeface="+mj-ea"/>
                <a:ea typeface="+mj-ea"/>
              </a:rPr>
            </a:br>
            <a:r>
              <a:rPr lang="en-US" altLang="zh-CN" sz="1400" dirty="0">
                <a:solidFill>
                  <a:schemeClr val="tx1"/>
                </a:solidFill>
                <a:uFillTx/>
                <a:latin typeface="+mj-ea"/>
                <a:ea typeface="+mj-ea"/>
              </a:rPr>
              <a:t>http://www.postgres.cn/docs/10/ </a:t>
            </a:r>
            <a:endParaRPr lang="en-US" altLang="zh-CN" sz="1400" dirty="0">
              <a:solidFill>
                <a:schemeClr val="tx1"/>
              </a:solidFill>
              <a:uFillTx/>
              <a:latin typeface="+mj-ea"/>
              <a:ea typeface="+mj-ea"/>
            </a:endParaRPr>
          </a:p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en-US" altLang="zh-CN" sz="1400" b="1" dirty="0">
                <a:solidFill>
                  <a:schemeClr val="tx1"/>
                </a:solidFill>
                <a:uFillTx/>
                <a:latin typeface="+mj-ea"/>
                <a:ea typeface="+mj-ea"/>
                <a:sym typeface="+mn-ea"/>
              </a:rPr>
              <a:t>PG11.2</a:t>
            </a:r>
            <a:br>
              <a:rPr lang="en-US" altLang="zh-CN" sz="1400" dirty="0">
                <a:solidFill>
                  <a:schemeClr val="tx1"/>
                </a:solidFill>
                <a:uFillTx/>
                <a:latin typeface="+mj-ea"/>
                <a:ea typeface="+mj-ea"/>
                <a:sym typeface="+mn-ea"/>
              </a:rPr>
            </a:br>
            <a:r>
              <a:rPr lang="en-US" altLang="zh-CN" sz="1400" dirty="0">
                <a:solidFill>
                  <a:schemeClr val="tx1"/>
                </a:solidFill>
                <a:uFillTx/>
                <a:latin typeface="+mj-ea"/>
                <a:ea typeface="+mj-ea"/>
              </a:rPr>
              <a:t>http://www.postgres.cn/docs/11/index.html</a:t>
            </a:r>
            <a:endParaRPr lang="en-US" altLang="zh-CN" sz="1400" dirty="0">
              <a:solidFill>
                <a:schemeClr val="tx1"/>
              </a:solidFill>
              <a:uFillTx/>
              <a:latin typeface="+mj-ea"/>
              <a:ea typeface="+mj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1"/>
          <a:srcRect l="1959" t="1190"/>
          <a:stretch>
            <a:fillRect/>
          </a:stretch>
        </p:blipFill>
        <p:spPr>
          <a:xfrm>
            <a:off x="6179820" y="2506981"/>
            <a:ext cx="5212715" cy="3112134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684530" y="1816100"/>
            <a:ext cx="6333490" cy="369332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</a:bodyPr>
          <a:lstStyle/>
          <a:p>
            <a:r>
              <a:rPr lang="zh-CN" altLang="en-US" dirty="0">
                <a:solidFill>
                  <a:schemeClr val="tx1"/>
                </a:solidFill>
                <a:uFillTx/>
                <a:latin typeface="+mj-ea"/>
                <a:ea typeface="+mj-ea"/>
                <a:cs typeface="宋体" panose="02010600030101010101" pitchFamily="2" charset="-122"/>
                <a:sym typeface="+mn-ea"/>
              </a:rPr>
              <a:t>从P</a:t>
            </a:r>
            <a:r>
              <a:rPr lang="en-US" altLang="zh-CN" dirty="0">
                <a:solidFill>
                  <a:schemeClr val="tx1"/>
                </a:solidFill>
                <a:uFillTx/>
                <a:latin typeface="+mj-ea"/>
                <a:ea typeface="+mj-ea"/>
                <a:cs typeface="宋体" panose="02010600030101010101" pitchFamily="2" charset="-122"/>
                <a:sym typeface="+mn-ea"/>
              </a:rPr>
              <a:t>G</a:t>
            </a:r>
            <a:r>
              <a:rPr lang="zh-CN" altLang="en-US" b="1" dirty="0">
                <a:solidFill>
                  <a:schemeClr val="tx1"/>
                </a:solidFill>
                <a:uFillTx/>
                <a:latin typeface="+mj-ea"/>
                <a:ea typeface="+mj-ea"/>
                <a:cs typeface="宋体" panose="02010600030101010101" pitchFamily="2" charset="-122"/>
                <a:sym typeface="+mn-ea"/>
              </a:rPr>
              <a:t>9.3.1开始参与</a:t>
            </a:r>
            <a:r>
              <a:rPr lang="zh-CN" altLang="en-US" dirty="0">
                <a:solidFill>
                  <a:schemeClr val="tx1"/>
                </a:solidFill>
                <a:uFillTx/>
                <a:latin typeface="+mj-ea"/>
                <a:ea typeface="+mj-ea"/>
                <a:cs typeface="宋体" panose="02010600030101010101" pitchFamily="2" charset="-122"/>
                <a:sym typeface="+mn-ea"/>
              </a:rPr>
              <a:t>文档的翻译工作，</a:t>
            </a:r>
            <a:r>
              <a:rPr lang="zh-CN" altLang="en-US" dirty="0">
                <a:solidFill>
                  <a:schemeClr val="tx1"/>
                </a:solidFill>
                <a:uFillTx/>
                <a:latin typeface="+mj-ea"/>
                <a:ea typeface="+mj-ea"/>
                <a:cs typeface="宋体" panose="02010600030101010101" pitchFamily="2" charset="-122"/>
              </a:rPr>
              <a:t>主要版本文档翻译链接</a:t>
            </a:r>
            <a:endParaRPr lang="zh-CN" altLang="en-US" dirty="0">
              <a:solidFill>
                <a:schemeClr val="tx1"/>
              </a:solidFill>
              <a:uFillTx/>
              <a:latin typeface="+mj-ea"/>
              <a:ea typeface="+mj-ea"/>
              <a:cs typeface="宋体" panose="02010600030101010101" pitchFamily="2" charset="-122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本框 16"/>
          <p:cNvSpPr txBox="1"/>
          <p:nvPr/>
        </p:nvSpPr>
        <p:spPr>
          <a:xfrm>
            <a:off x="669923" y="915745"/>
            <a:ext cx="10850565" cy="628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3200" b="1" dirty="0">
                <a:latin typeface="+mj-lt"/>
                <a:ea typeface="+mj-ea"/>
              </a:rPr>
              <a:t>人才培养</a:t>
            </a:r>
            <a:endParaRPr lang="zh-CN" altLang="en-US" sz="3200" b="1" dirty="0">
              <a:latin typeface="+mj-lt"/>
              <a:ea typeface="+mj-ea"/>
            </a:endParaRPr>
          </a:p>
        </p:txBody>
      </p:sp>
      <p:grpSp>
        <p:nvGrpSpPr>
          <p:cNvPr id="3" name="组合 2"/>
          <p:cNvGrpSpPr/>
          <p:nvPr/>
        </p:nvGrpSpPr>
        <p:grpSpPr>
          <a:xfrm>
            <a:off x="1533119" y="1616862"/>
            <a:ext cx="8936761" cy="3579978"/>
            <a:chOff x="1380719" y="1647342"/>
            <a:chExt cx="8936761" cy="3579978"/>
          </a:xfrm>
        </p:grpSpPr>
        <p:pic>
          <p:nvPicPr>
            <p:cNvPr id="8" name="图片 7"/>
            <p:cNvPicPr>
              <a:picLocks noChangeAspect="1"/>
            </p:cNvPicPr>
            <p:nvPr/>
          </p:nvPicPr>
          <p:blipFill>
            <a:blip r:embed="rId1"/>
            <a:stretch>
              <a:fillRect/>
            </a:stretch>
          </p:blipFill>
          <p:spPr>
            <a:xfrm>
              <a:off x="1380719" y="1706880"/>
              <a:ext cx="2675162" cy="1152390"/>
            </a:xfrm>
            <a:prstGeom prst="rect">
              <a:avLst/>
            </a:prstGeom>
          </p:spPr>
        </p:pic>
        <p:pic>
          <p:nvPicPr>
            <p:cNvPr id="9" name="图片 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495800" y="1657350"/>
              <a:ext cx="2866154" cy="1080000"/>
            </a:xfrm>
            <a:prstGeom prst="rect">
              <a:avLst/>
            </a:prstGeom>
          </p:spPr>
        </p:pic>
        <p:pic>
          <p:nvPicPr>
            <p:cNvPr id="10" name="图片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673340" y="1647342"/>
              <a:ext cx="2530785" cy="1067148"/>
            </a:xfrm>
            <a:prstGeom prst="rect">
              <a:avLst/>
            </a:prstGeom>
          </p:spPr>
        </p:pic>
        <p:pic>
          <p:nvPicPr>
            <p:cNvPr id="11" name="图片 1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602105" y="3098165"/>
              <a:ext cx="2494280" cy="932815"/>
            </a:xfrm>
            <a:prstGeom prst="rect">
              <a:avLst/>
            </a:prstGeom>
          </p:spPr>
        </p:pic>
        <p:pic>
          <p:nvPicPr>
            <p:cNvPr id="12" name="图片 11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632960" y="2994660"/>
              <a:ext cx="2453640" cy="1011269"/>
            </a:xfrm>
            <a:prstGeom prst="rect">
              <a:avLst/>
            </a:prstGeom>
          </p:spPr>
        </p:pic>
        <p:pic>
          <p:nvPicPr>
            <p:cNvPr id="13" name="图片 12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541145" y="4438015"/>
              <a:ext cx="2494280" cy="789305"/>
            </a:xfrm>
            <a:prstGeom prst="rect">
              <a:avLst/>
            </a:prstGeom>
          </p:spPr>
        </p:pic>
        <p:pic>
          <p:nvPicPr>
            <p:cNvPr id="14" name="图片 13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686299" y="4342202"/>
              <a:ext cx="2537461" cy="869878"/>
            </a:xfrm>
            <a:prstGeom prst="rect">
              <a:avLst/>
            </a:prstGeom>
          </p:spPr>
        </p:pic>
        <p:pic>
          <p:nvPicPr>
            <p:cNvPr id="15" name="图片 14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810500" y="4321472"/>
              <a:ext cx="2415540" cy="852508"/>
            </a:xfrm>
            <a:prstGeom prst="rect">
              <a:avLst/>
            </a:prstGeom>
          </p:spPr>
        </p:pic>
        <p:pic>
          <p:nvPicPr>
            <p:cNvPr id="2" name="图片 1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806460" y="3059351"/>
              <a:ext cx="2511020" cy="861024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椭圆 21"/>
          <p:cNvSpPr/>
          <p:nvPr/>
        </p:nvSpPr>
        <p:spPr>
          <a:xfrm>
            <a:off x="1121533" y="1993352"/>
            <a:ext cx="2880000" cy="2880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标题 1"/>
          <p:cNvSpPr txBox="1"/>
          <p:nvPr/>
        </p:nvSpPr>
        <p:spPr>
          <a:xfrm>
            <a:off x="1391787" y="3104947"/>
            <a:ext cx="2453192" cy="66039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altLang="zh-CN" sz="3600" dirty="0"/>
              <a:t>CONTENT</a:t>
            </a:r>
            <a:endParaRPr lang="zh-CN" altLang="en-US" sz="3600" dirty="0"/>
          </a:p>
        </p:txBody>
      </p:sp>
      <p:sp>
        <p:nvSpPr>
          <p:cNvPr id="7" name="文本框 6"/>
          <p:cNvSpPr txBox="1"/>
          <p:nvPr/>
        </p:nvSpPr>
        <p:spPr>
          <a:xfrm>
            <a:off x="6910305" y="1642346"/>
            <a:ext cx="17968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SzPct val="25000"/>
            </a:pP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我们是谁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内容占位符 7"/>
          <p:cNvSpPr txBox="1"/>
          <p:nvPr/>
        </p:nvSpPr>
        <p:spPr>
          <a:xfrm>
            <a:off x="6910305" y="2076043"/>
            <a:ext cx="4693392" cy="77959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3765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2000" dirty="0">
                <a:solidFill>
                  <a:schemeClr val="bg1">
                    <a:lumMod val="65000"/>
                  </a:schemeClr>
                </a:solidFill>
              </a:rPr>
              <a:t>WHO ARE WE</a:t>
            </a:r>
            <a:endParaRPr lang="en-US" altLang="zh-CN" sz="20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6910305" y="2916597"/>
            <a:ext cx="24876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SzPct val="25000"/>
            </a:pP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我们做了什么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内容占位符 7"/>
          <p:cNvSpPr txBox="1"/>
          <p:nvPr/>
        </p:nvSpPr>
        <p:spPr>
          <a:xfrm>
            <a:off x="6910305" y="3350294"/>
            <a:ext cx="4693392" cy="72942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3765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2000" dirty="0">
                <a:solidFill>
                  <a:schemeClr val="bg1">
                    <a:lumMod val="65000"/>
                  </a:schemeClr>
                </a:solidFill>
              </a:rPr>
              <a:t>WHAT DO WE DO </a:t>
            </a:r>
            <a:endParaRPr lang="en-US" altLang="zh-CN" sz="20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6910305" y="4092420"/>
            <a:ext cx="31277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SzPct val="25000"/>
            </a:pPr>
            <a:r>
              <a:rPr lang="en-US" altLang="zh-CN" sz="2800" b="1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IvorySQL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是什么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内容占位符 7"/>
          <p:cNvSpPr txBox="1"/>
          <p:nvPr/>
        </p:nvSpPr>
        <p:spPr>
          <a:xfrm>
            <a:off x="6910305" y="4526117"/>
            <a:ext cx="4693392" cy="72942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3765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2000" dirty="0">
                <a:solidFill>
                  <a:schemeClr val="bg1">
                    <a:lumMod val="65000"/>
                  </a:schemeClr>
                </a:solidFill>
              </a:rPr>
              <a:t>WHAT IS IVORYSQL </a:t>
            </a:r>
            <a:endParaRPr lang="en-US" altLang="zh-CN" sz="20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6025680" y="1668452"/>
            <a:ext cx="88357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800" dirty="0">
                <a:solidFill>
                  <a:schemeClr val="bg1">
                    <a:lumMod val="65000"/>
                  </a:schemeClr>
                </a:solidFill>
              </a:rPr>
              <a:t>01 / </a:t>
            </a:r>
            <a:endParaRPr lang="zh-CN" altLang="en-US" sz="28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6025680" y="2933264"/>
            <a:ext cx="88357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800" dirty="0">
                <a:solidFill>
                  <a:schemeClr val="bg1">
                    <a:lumMod val="65000"/>
                  </a:schemeClr>
                </a:solidFill>
              </a:rPr>
              <a:t>02 / </a:t>
            </a:r>
            <a:endParaRPr lang="zh-CN" altLang="en-US" sz="28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6025680" y="4094098"/>
            <a:ext cx="88357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800" dirty="0">
                <a:solidFill>
                  <a:schemeClr val="bg1">
                    <a:lumMod val="65000"/>
                  </a:schemeClr>
                </a:solidFill>
              </a:rPr>
              <a:t>03 / </a:t>
            </a:r>
            <a:endParaRPr lang="zh-CN" altLang="en-US" sz="28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本框 16"/>
          <p:cNvSpPr txBox="1"/>
          <p:nvPr/>
        </p:nvSpPr>
        <p:spPr>
          <a:xfrm>
            <a:off x="669923" y="915745"/>
            <a:ext cx="10850565" cy="628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3200" b="1" dirty="0">
                <a:latin typeface="+mj-lt"/>
                <a:ea typeface="+mj-ea"/>
              </a:rPr>
              <a:t>人才培养</a:t>
            </a:r>
            <a:endParaRPr lang="zh-CN" altLang="en-US" sz="3200" b="1" dirty="0">
              <a:latin typeface="+mj-lt"/>
              <a:ea typeface="+mj-ea"/>
            </a:endParaRP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15821" y="1799603"/>
            <a:ext cx="3893185" cy="3603625"/>
          </a:xfrm>
          <a:prstGeom prst="rect">
            <a:avLst/>
          </a:prstGeom>
        </p:spPr>
      </p:pic>
      <p:pic>
        <p:nvPicPr>
          <p:cNvPr id="19" name="图片 18"/>
          <p:cNvPicPr>
            <a:picLocks noChangeAspect="1"/>
          </p:cNvPicPr>
          <p:nvPr/>
        </p:nvPicPr>
        <p:blipFill rotWithShape="1">
          <a:blip r:embed="rId2"/>
          <a:srcRect t="1229"/>
          <a:stretch>
            <a:fillRect/>
          </a:stretch>
        </p:blipFill>
        <p:spPr>
          <a:xfrm>
            <a:off x="4571920" y="2571559"/>
            <a:ext cx="4400129" cy="2817564"/>
          </a:xfrm>
          <a:prstGeom prst="rect">
            <a:avLst/>
          </a:prstGeom>
        </p:spPr>
      </p:pic>
      <p:pic>
        <p:nvPicPr>
          <p:cNvPr id="2" name="图片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6427" y="1159698"/>
            <a:ext cx="2569722" cy="4682605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6"/>
          <p:cNvSpPr txBox="1"/>
          <p:nvPr/>
        </p:nvSpPr>
        <p:spPr>
          <a:xfrm>
            <a:off x="1412370" y="3875884"/>
            <a:ext cx="9317620" cy="696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zh-CN" sz="3600" b="1" dirty="0">
                <a:latin typeface="+mj-lt"/>
                <a:ea typeface="+mj-ea"/>
              </a:rPr>
              <a:t>PART 03</a:t>
            </a:r>
            <a:endParaRPr lang="zh-CN" altLang="en-US" sz="3600" b="1" dirty="0">
              <a:latin typeface="+mj-lt"/>
              <a:ea typeface="+mj-ea"/>
            </a:endParaRPr>
          </a:p>
        </p:txBody>
      </p:sp>
      <p:sp>
        <p:nvSpPr>
          <p:cNvPr id="8" name="内容占位符 7"/>
          <p:cNvSpPr txBox="1"/>
          <p:nvPr/>
        </p:nvSpPr>
        <p:spPr>
          <a:xfrm>
            <a:off x="1412370" y="4579528"/>
            <a:ext cx="9317620" cy="14290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3765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en-US" altLang="zh-CN" sz="2800" b="1" dirty="0" err="1"/>
              <a:t>IvorySQL</a:t>
            </a:r>
            <a:r>
              <a:rPr lang="zh-CN" altLang="en-US" sz="2800" b="1" dirty="0"/>
              <a:t>是什么</a:t>
            </a:r>
            <a:br>
              <a:rPr lang="en-US" altLang="zh-CN" sz="2400" b="1" dirty="0"/>
            </a:br>
            <a:r>
              <a:rPr lang="en-US" altLang="zh-CN" sz="2400" dirty="0">
                <a:solidFill>
                  <a:schemeClr val="bg1">
                    <a:lumMod val="65000"/>
                  </a:schemeClr>
                </a:solidFill>
              </a:rPr>
              <a:t>WHAT IS IVORYSQL </a:t>
            </a:r>
            <a:endParaRPr lang="en-US" altLang="zh-CN" sz="24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2" name="椭圆 11"/>
          <p:cNvSpPr/>
          <p:nvPr/>
        </p:nvSpPr>
        <p:spPr>
          <a:xfrm>
            <a:off x="5398070" y="1083985"/>
            <a:ext cx="1440000" cy="1440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6" name="Picture 2"/>
          <p:cNvPicPr>
            <a:picLocks noChangeAspect="1"/>
          </p:cNvPicPr>
          <p:nvPr/>
        </p:nvPicPr>
        <p:blipFill rotWithShape="1">
          <a:blip r:embed="rId1"/>
          <a:srcRect r="67741"/>
          <a:stretch>
            <a:fillRect/>
          </a:stretch>
        </p:blipFill>
        <p:spPr>
          <a:xfrm>
            <a:off x="5559831" y="1201671"/>
            <a:ext cx="1039089" cy="1132590"/>
          </a:xfrm>
          <a:prstGeom prst="rect">
            <a:avLst/>
          </a:prstGeom>
        </p:spPr>
      </p:pic>
    </p:spTree>
    <p:custDataLst>
      <p:tags r:id="rId2"/>
    </p:custData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本框 16"/>
          <p:cNvSpPr txBox="1"/>
          <p:nvPr/>
        </p:nvSpPr>
        <p:spPr>
          <a:xfrm>
            <a:off x="669923" y="915745"/>
            <a:ext cx="10850565" cy="628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3200" b="1" dirty="0">
                <a:latin typeface="+mj-lt"/>
                <a:ea typeface="+mj-ea"/>
              </a:rPr>
              <a:t>项目背景</a:t>
            </a:r>
            <a:endParaRPr lang="zh-CN" altLang="en-US" sz="3200" b="1" dirty="0">
              <a:latin typeface="+mj-lt"/>
              <a:ea typeface="+mj-ea"/>
            </a:endParaRPr>
          </a:p>
        </p:txBody>
      </p:sp>
      <p:sp>
        <p:nvSpPr>
          <p:cNvPr id="23" name="椭圆 22"/>
          <p:cNvSpPr/>
          <p:nvPr/>
        </p:nvSpPr>
        <p:spPr>
          <a:xfrm>
            <a:off x="3916680" y="1812925"/>
            <a:ext cx="3970020" cy="3408045"/>
          </a:xfrm>
          <a:prstGeom prst="ellipse">
            <a:avLst/>
          </a:prstGeom>
          <a:solidFill>
            <a:srgbClr val="A5A5A5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pic>
        <p:nvPicPr>
          <p:cNvPr id="24" name="图片 2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013325" y="2466340"/>
            <a:ext cx="1818005" cy="1818005"/>
          </a:xfrm>
          <a:prstGeom prst="rect">
            <a:avLst/>
          </a:prstGeom>
        </p:spPr>
      </p:pic>
      <p:sp>
        <p:nvSpPr>
          <p:cNvPr id="27" name="文本框 26"/>
          <p:cNvSpPr txBox="1"/>
          <p:nvPr/>
        </p:nvSpPr>
        <p:spPr>
          <a:xfrm>
            <a:off x="8335645" y="2312035"/>
            <a:ext cx="136207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rgbClr val="000000"/>
                </a:solidFill>
                <a:latin typeface="+mj-ea"/>
                <a:ea typeface="+mj-ea"/>
              </a:rPr>
              <a:t>服务经验</a:t>
            </a:r>
            <a:endParaRPr lang="zh-CN" altLang="en-US" dirty="0">
              <a:solidFill>
                <a:srgbClr val="000000"/>
              </a:solidFill>
              <a:latin typeface="+mj-ea"/>
              <a:ea typeface="+mj-ea"/>
            </a:endParaRPr>
          </a:p>
        </p:txBody>
      </p:sp>
      <p:sp>
        <p:nvSpPr>
          <p:cNvPr id="30" name="文本框 29"/>
          <p:cNvSpPr txBox="1"/>
          <p:nvPr/>
        </p:nvSpPr>
        <p:spPr>
          <a:xfrm>
            <a:off x="8335645" y="4345940"/>
            <a:ext cx="136207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rgbClr val="000000"/>
                </a:solidFill>
                <a:latin typeface="+mj-ea"/>
                <a:ea typeface="+mj-ea"/>
              </a:rPr>
              <a:t>产品需求</a:t>
            </a:r>
            <a:endParaRPr lang="zh-CN" altLang="en-US" dirty="0">
              <a:solidFill>
                <a:srgbClr val="000000"/>
              </a:solidFill>
              <a:latin typeface="+mj-ea"/>
              <a:ea typeface="+mj-ea"/>
            </a:endParaRPr>
          </a:p>
        </p:txBody>
      </p:sp>
      <p:sp>
        <p:nvSpPr>
          <p:cNvPr id="32" name="文本框 31"/>
          <p:cNvSpPr txBox="1"/>
          <p:nvPr/>
        </p:nvSpPr>
        <p:spPr>
          <a:xfrm>
            <a:off x="2449195" y="4345940"/>
            <a:ext cx="136207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rgbClr val="000000"/>
                </a:solidFill>
                <a:latin typeface="+mj-ea"/>
                <a:ea typeface="+mj-ea"/>
              </a:rPr>
              <a:t>开发诉求</a:t>
            </a:r>
            <a:endParaRPr lang="zh-CN" altLang="en-US" dirty="0">
              <a:solidFill>
                <a:srgbClr val="000000"/>
              </a:solidFill>
              <a:latin typeface="+mj-ea"/>
              <a:ea typeface="+mj-ea"/>
            </a:endParaRPr>
          </a:p>
        </p:txBody>
      </p:sp>
      <p:sp>
        <p:nvSpPr>
          <p:cNvPr id="35" name="文本框 34"/>
          <p:cNvSpPr txBox="1"/>
          <p:nvPr/>
        </p:nvSpPr>
        <p:spPr>
          <a:xfrm>
            <a:off x="2449195" y="2312035"/>
            <a:ext cx="136207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rgbClr val="000000"/>
                </a:solidFill>
                <a:latin typeface="+mj-ea"/>
                <a:ea typeface="+mj-ea"/>
              </a:rPr>
              <a:t>数据安全</a:t>
            </a:r>
            <a:endParaRPr lang="zh-CN" altLang="en-US" dirty="0">
              <a:solidFill>
                <a:srgbClr val="000000"/>
              </a:solidFill>
              <a:latin typeface="+mj-ea"/>
              <a:ea typeface="+mj-ea"/>
            </a:endParaRPr>
          </a:p>
        </p:txBody>
      </p:sp>
      <p:grpSp>
        <p:nvGrpSpPr>
          <p:cNvPr id="40" name="组合 39"/>
          <p:cNvGrpSpPr/>
          <p:nvPr/>
        </p:nvGrpSpPr>
        <p:grpSpPr>
          <a:xfrm>
            <a:off x="3558540" y="1958340"/>
            <a:ext cx="868344" cy="960120"/>
            <a:chOff x="2148840" y="1821180"/>
            <a:chExt cx="937260" cy="1036320"/>
          </a:xfrm>
        </p:grpSpPr>
        <p:pic>
          <p:nvPicPr>
            <p:cNvPr id="3" name="图片 2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48840" y="1821180"/>
              <a:ext cx="861060" cy="967740"/>
            </a:xfrm>
            <a:prstGeom prst="rect">
              <a:avLst/>
            </a:prstGeom>
          </p:spPr>
        </p:pic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22220" y="2232660"/>
              <a:ext cx="563880" cy="624840"/>
            </a:xfrm>
            <a:prstGeom prst="rect">
              <a:avLst/>
            </a:prstGeom>
          </p:spPr>
        </p:pic>
      </p:grpSp>
      <p:grpSp>
        <p:nvGrpSpPr>
          <p:cNvPr id="39" name="组合 38"/>
          <p:cNvGrpSpPr/>
          <p:nvPr/>
        </p:nvGrpSpPr>
        <p:grpSpPr>
          <a:xfrm>
            <a:off x="7246620" y="1958340"/>
            <a:ext cx="1073459" cy="1081523"/>
            <a:chOff x="1678929" y="3458831"/>
            <a:chExt cx="773277" cy="779086"/>
          </a:xfrm>
        </p:grpSpPr>
        <p:pic>
          <p:nvPicPr>
            <p:cNvPr id="37" name="图片 36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556" t="15695" r="32735" b="20628"/>
            <a:stretch>
              <a:fillRect/>
            </a:stretch>
          </p:blipFill>
          <p:spPr>
            <a:xfrm>
              <a:off x="1678929" y="3458831"/>
              <a:ext cx="608643" cy="708420"/>
            </a:xfrm>
            <a:prstGeom prst="rect">
              <a:avLst/>
            </a:prstGeom>
          </p:spPr>
        </p:pic>
        <p:pic>
          <p:nvPicPr>
            <p:cNvPr id="38" name="图片 3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74725" y="3860436"/>
              <a:ext cx="377481" cy="377481"/>
            </a:xfrm>
            <a:prstGeom prst="rect">
              <a:avLst/>
            </a:prstGeom>
          </p:spPr>
        </p:pic>
      </p:grpSp>
      <p:grpSp>
        <p:nvGrpSpPr>
          <p:cNvPr id="44" name="组合 43"/>
          <p:cNvGrpSpPr/>
          <p:nvPr/>
        </p:nvGrpSpPr>
        <p:grpSpPr>
          <a:xfrm>
            <a:off x="3540563" y="4069080"/>
            <a:ext cx="1008577" cy="855906"/>
            <a:chOff x="1965960" y="3375660"/>
            <a:chExt cx="947772" cy="804305"/>
          </a:xfrm>
        </p:grpSpPr>
        <p:pic>
          <p:nvPicPr>
            <p:cNvPr id="41" name="图片 40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5960" y="3375660"/>
              <a:ext cx="685800" cy="685800"/>
            </a:xfrm>
            <a:prstGeom prst="rect">
              <a:avLst/>
            </a:prstGeom>
          </p:spPr>
        </p:pic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28871" y="3395105"/>
              <a:ext cx="784861" cy="784860"/>
            </a:xfrm>
            <a:prstGeom prst="rect">
              <a:avLst/>
            </a:prstGeom>
          </p:spPr>
        </p:pic>
      </p:grpSp>
      <p:grpSp>
        <p:nvGrpSpPr>
          <p:cNvPr id="48" name="组合 47"/>
          <p:cNvGrpSpPr/>
          <p:nvPr/>
        </p:nvGrpSpPr>
        <p:grpSpPr>
          <a:xfrm>
            <a:off x="7292346" y="4069080"/>
            <a:ext cx="969267" cy="784860"/>
            <a:chOff x="7491412" y="4448684"/>
            <a:chExt cx="789841" cy="639571"/>
          </a:xfrm>
        </p:grpSpPr>
        <p:pic>
          <p:nvPicPr>
            <p:cNvPr id="47" name="图片 46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91412" y="4501515"/>
              <a:ext cx="586740" cy="586740"/>
            </a:xfrm>
            <a:prstGeom prst="rect">
              <a:avLst/>
            </a:prstGeom>
          </p:spPr>
        </p:pic>
        <p:pic>
          <p:nvPicPr>
            <p:cNvPr id="45" name="图片 44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08813" y="4448684"/>
              <a:ext cx="472440" cy="472440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本框 16"/>
          <p:cNvSpPr txBox="1"/>
          <p:nvPr/>
        </p:nvSpPr>
        <p:spPr>
          <a:xfrm>
            <a:off x="669923" y="915745"/>
            <a:ext cx="10850565" cy="628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3200" b="1" dirty="0">
                <a:latin typeface="+mj-lt"/>
                <a:ea typeface="+mj-ea"/>
              </a:rPr>
              <a:t>项目介绍</a:t>
            </a:r>
            <a:endParaRPr lang="zh-CN" altLang="en-US" sz="3200" b="1" dirty="0">
              <a:latin typeface="+mj-lt"/>
              <a:ea typeface="+mj-ea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729615" y="2038985"/>
            <a:ext cx="4802505" cy="25844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由瀚高发起的开源项目</a:t>
            </a:r>
            <a:endParaRPr lang="zh-CN" alt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zh-CN" alt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基于PostgreSQL开源分支</a:t>
            </a:r>
            <a:endParaRPr lang="zh-CN" alt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zh-CN" alt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稳定版本是</a:t>
            </a:r>
            <a:r>
              <a:rPr lang="en-US" altLang="zh-CN" dirty="0" err="1"/>
              <a:t>IvorySQL</a:t>
            </a:r>
            <a:r>
              <a:rPr lang="en-US" altLang="zh-CN" dirty="0"/>
              <a:t> Release 1.3</a:t>
            </a:r>
            <a:endParaRPr lang="zh-CN" alt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zh-CN" alt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Apache 2.0</a:t>
            </a:r>
            <a:r>
              <a:rPr lang="en-US" altLang="zh-CN" dirty="0"/>
              <a:t> </a:t>
            </a:r>
            <a:r>
              <a:rPr lang="zh-CN" altLang="en-US" dirty="0"/>
              <a:t>开源协议</a:t>
            </a:r>
            <a:endParaRPr lang="zh-CN" alt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zh-CN" alt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100%与PostgreSQL兼容</a:t>
            </a:r>
            <a:endParaRPr lang="zh-CN" altLang="en-US" dirty="0"/>
          </a:p>
        </p:txBody>
      </p:sp>
      <p:pic>
        <p:nvPicPr>
          <p:cNvPr id="14" name="Google Shape;121;g1057c05bba8_1_7"/>
          <p:cNvPicPr preferRelativeResize="0"/>
          <p:nvPr/>
        </p:nvPicPr>
        <p:blipFill>
          <a:blip r:embed="rId1"/>
          <a:stretch>
            <a:fillRect/>
          </a:stretch>
        </p:blipFill>
        <p:spPr>
          <a:xfrm>
            <a:off x="6961504" y="1291590"/>
            <a:ext cx="3851275" cy="406401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" name="组合 60"/>
          <p:cNvGrpSpPr/>
          <p:nvPr/>
        </p:nvGrpSpPr>
        <p:grpSpPr>
          <a:xfrm>
            <a:off x="8536320" y="3083632"/>
            <a:ext cx="2054664" cy="1350254"/>
            <a:chOff x="3560917" y="1970405"/>
            <a:chExt cx="5057467" cy="3323591"/>
          </a:xfrm>
        </p:grpSpPr>
        <p:sp>
          <p:nvSpPr>
            <p:cNvPr id="62" name="îṡlíḋe"/>
            <p:cNvSpPr/>
            <p:nvPr/>
          </p:nvSpPr>
          <p:spPr>
            <a:xfrm>
              <a:off x="3572019" y="2167927"/>
              <a:ext cx="5039579" cy="3126069"/>
            </a:xfrm>
            <a:custGeom>
              <a:avLst/>
              <a:gdLst>
                <a:gd name="connsiteX0" fmla="*/ 2946464 w 3113150"/>
                <a:gd name="connsiteY0" fmla="*/ 1931099 h 1931098"/>
                <a:gd name="connsiteX1" fmla="*/ 166688 w 3113150"/>
                <a:gd name="connsiteY1" fmla="*/ 1931099 h 1931098"/>
                <a:gd name="connsiteX2" fmla="*/ 0 w 3113150"/>
                <a:gd name="connsiteY2" fmla="*/ 1764411 h 1931098"/>
                <a:gd name="connsiteX3" fmla="*/ 0 w 3113150"/>
                <a:gd name="connsiteY3" fmla="*/ 124587 h 1931098"/>
                <a:gd name="connsiteX4" fmla="*/ 124682 w 3113150"/>
                <a:gd name="connsiteY4" fmla="*/ 0 h 1931098"/>
                <a:gd name="connsiteX5" fmla="*/ 2986469 w 3113150"/>
                <a:gd name="connsiteY5" fmla="*/ 0 h 1931098"/>
                <a:gd name="connsiteX6" fmla="*/ 3113151 w 3113150"/>
                <a:gd name="connsiteY6" fmla="*/ 126587 h 1931098"/>
                <a:gd name="connsiteX7" fmla="*/ 3113151 w 3113150"/>
                <a:gd name="connsiteY7" fmla="*/ 1764887 h 1931098"/>
                <a:gd name="connsiteX8" fmla="*/ 2946464 w 3113150"/>
                <a:gd name="connsiteY8" fmla="*/ 1931099 h 1931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13150" h="1931098">
                  <a:moveTo>
                    <a:pt x="2946464" y="1931099"/>
                  </a:moveTo>
                  <a:lnTo>
                    <a:pt x="166688" y="1931099"/>
                  </a:lnTo>
                  <a:cubicBezTo>
                    <a:pt x="74676" y="1930994"/>
                    <a:pt x="105" y="1856423"/>
                    <a:pt x="0" y="1764411"/>
                  </a:cubicBezTo>
                  <a:lnTo>
                    <a:pt x="0" y="124587"/>
                  </a:lnTo>
                  <a:cubicBezTo>
                    <a:pt x="105" y="55786"/>
                    <a:pt x="55883" y="52"/>
                    <a:pt x="124682" y="0"/>
                  </a:cubicBezTo>
                  <a:lnTo>
                    <a:pt x="2986469" y="0"/>
                  </a:lnTo>
                  <a:cubicBezTo>
                    <a:pt x="3056392" y="0"/>
                    <a:pt x="3113103" y="56659"/>
                    <a:pt x="3113151" y="126587"/>
                  </a:cubicBezTo>
                  <a:lnTo>
                    <a:pt x="3113151" y="1764887"/>
                  </a:lnTo>
                  <a:cubicBezTo>
                    <a:pt x="3112780" y="1856718"/>
                    <a:pt x="3038294" y="1930994"/>
                    <a:pt x="2946464" y="193109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îšļíḓè"/>
            <p:cNvSpPr/>
            <p:nvPr/>
          </p:nvSpPr>
          <p:spPr>
            <a:xfrm>
              <a:off x="3572019" y="2167927"/>
              <a:ext cx="5039579" cy="3126069"/>
            </a:xfrm>
            <a:custGeom>
              <a:avLst/>
              <a:gdLst>
                <a:gd name="connsiteX0" fmla="*/ 2946464 w 3113150"/>
                <a:gd name="connsiteY0" fmla="*/ 1931099 h 1931098"/>
                <a:gd name="connsiteX1" fmla="*/ 166688 w 3113150"/>
                <a:gd name="connsiteY1" fmla="*/ 1931099 h 1931098"/>
                <a:gd name="connsiteX2" fmla="*/ 0 w 3113150"/>
                <a:gd name="connsiteY2" fmla="*/ 1764411 h 1931098"/>
                <a:gd name="connsiteX3" fmla="*/ 0 w 3113150"/>
                <a:gd name="connsiteY3" fmla="*/ 124587 h 1931098"/>
                <a:gd name="connsiteX4" fmla="*/ 124682 w 3113150"/>
                <a:gd name="connsiteY4" fmla="*/ 0 h 1931098"/>
                <a:gd name="connsiteX5" fmla="*/ 2986469 w 3113150"/>
                <a:gd name="connsiteY5" fmla="*/ 0 h 1931098"/>
                <a:gd name="connsiteX6" fmla="*/ 3113151 w 3113150"/>
                <a:gd name="connsiteY6" fmla="*/ 126587 h 1931098"/>
                <a:gd name="connsiteX7" fmla="*/ 3113151 w 3113150"/>
                <a:gd name="connsiteY7" fmla="*/ 1764887 h 1931098"/>
                <a:gd name="connsiteX8" fmla="*/ 2946464 w 3113150"/>
                <a:gd name="connsiteY8" fmla="*/ 1931099 h 1931098"/>
                <a:gd name="connsiteX9" fmla="*/ 124682 w 3113150"/>
                <a:gd name="connsiteY9" fmla="*/ 19050 h 1931098"/>
                <a:gd name="connsiteX10" fmla="*/ 19050 w 3113150"/>
                <a:gd name="connsiteY10" fmla="*/ 124587 h 1931098"/>
                <a:gd name="connsiteX11" fmla="*/ 19050 w 3113150"/>
                <a:gd name="connsiteY11" fmla="*/ 1764411 h 1931098"/>
                <a:gd name="connsiteX12" fmla="*/ 166688 w 3113150"/>
                <a:gd name="connsiteY12" fmla="*/ 1912049 h 1931098"/>
                <a:gd name="connsiteX13" fmla="*/ 2946464 w 3113150"/>
                <a:gd name="connsiteY13" fmla="*/ 1912049 h 1931098"/>
                <a:gd name="connsiteX14" fmla="*/ 3094101 w 3113150"/>
                <a:gd name="connsiteY14" fmla="*/ 1764411 h 1931098"/>
                <a:gd name="connsiteX15" fmla="*/ 3094101 w 3113150"/>
                <a:gd name="connsiteY15" fmla="*/ 126587 h 1931098"/>
                <a:gd name="connsiteX16" fmla="*/ 2986469 w 3113150"/>
                <a:gd name="connsiteY16" fmla="*/ 19050 h 1931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113150" h="1931098">
                  <a:moveTo>
                    <a:pt x="2946464" y="1931099"/>
                  </a:moveTo>
                  <a:lnTo>
                    <a:pt x="166688" y="1931099"/>
                  </a:lnTo>
                  <a:cubicBezTo>
                    <a:pt x="74676" y="1930994"/>
                    <a:pt x="105" y="1856423"/>
                    <a:pt x="0" y="1764411"/>
                  </a:cubicBezTo>
                  <a:lnTo>
                    <a:pt x="0" y="124587"/>
                  </a:lnTo>
                  <a:cubicBezTo>
                    <a:pt x="105" y="55786"/>
                    <a:pt x="55883" y="52"/>
                    <a:pt x="124682" y="0"/>
                  </a:cubicBezTo>
                  <a:lnTo>
                    <a:pt x="2986469" y="0"/>
                  </a:lnTo>
                  <a:cubicBezTo>
                    <a:pt x="3056392" y="0"/>
                    <a:pt x="3113103" y="56659"/>
                    <a:pt x="3113151" y="126587"/>
                  </a:cubicBezTo>
                  <a:lnTo>
                    <a:pt x="3113151" y="1764887"/>
                  </a:lnTo>
                  <a:cubicBezTo>
                    <a:pt x="3112780" y="1856718"/>
                    <a:pt x="3038294" y="1930994"/>
                    <a:pt x="2946464" y="1931099"/>
                  </a:cubicBezTo>
                  <a:close/>
                  <a:moveTo>
                    <a:pt x="124682" y="19050"/>
                  </a:moveTo>
                  <a:cubicBezTo>
                    <a:pt x="66380" y="19050"/>
                    <a:pt x="19107" y="66285"/>
                    <a:pt x="19050" y="124587"/>
                  </a:cubicBezTo>
                  <a:lnTo>
                    <a:pt x="19050" y="1764411"/>
                  </a:lnTo>
                  <a:cubicBezTo>
                    <a:pt x="19212" y="1845888"/>
                    <a:pt x="85211" y="1911887"/>
                    <a:pt x="166688" y="1912049"/>
                  </a:cubicBezTo>
                  <a:lnTo>
                    <a:pt x="2946464" y="1912049"/>
                  </a:lnTo>
                  <a:cubicBezTo>
                    <a:pt x="3027960" y="1911944"/>
                    <a:pt x="3093996" y="1845907"/>
                    <a:pt x="3094101" y="1764411"/>
                  </a:cubicBezTo>
                  <a:lnTo>
                    <a:pt x="3094101" y="126587"/>
                  </a:lnTo>
                  <a:cubicBezTo>
                    <a:pt x="3093996" y="67203"/>
                    <a:pt x="3045857" y="19102"/>
                    <a:pt x="2986469" y="19050"/>
                  </a:cubicBezTo>
                  <a:close/>
                </a:path>
              </a:pathLst>
            </a:custGeom>
            <a:solidFill>
              <a:srgbClr val="3F3D5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îslíḋè"/>
            <p:cNvSpPr/>
            <p:nvPr/>
          </p:nvSpPr>
          <p:spPr>
            <a:xfrm>
              <a:off x="3841852" y="2594881"/>
              <a:ext cx="4499910" cy="2429279"/>
            </a:xfrm>
            <a:custGeom>
              <a:avLst/>
              <a:gdLst>
                <a:gd name="connsiteX0" fmla="*/ 152400 w 2779775"/>
                <a:gd name="connsiteY0" fmla="*/ 1500664 h 1500663"/>
                <a:gd name="connsiteX1" fmla="*/ 2627376 w 2779775"/>
                <a:gd name="connsiteY1" fmla="*/ 1500664 h 1500663"/>
                <a:gd name="connsiteX2" fmla="*/ 2779776 w 2779775"/>
                <a:gd name="connsiteY2" fmla="*/ 1348264 h 1500663"/>
                <a:gd name="connsiteX3" fmla="*/ 2779776 w 2779775"/>
                <a:gd name="connsiteY3" fmla="*/ 152400 h 1500663"/>
                <a:gd name="connsiteX4" fmla="*/ 2627376 w 2779775"/>
                <a:gd name="connsiteY4" fmla="*/ 0 h 1500663"/>
                <a:gd name="connsiteX5" fmla="*/ 152400 w 2779775"/>
                <a:gd name="connsiteY5" fmla="*/ 0 h 1500663"/>
                <a:gd name="connsiteX6" fmla="*/ 0 w 2779775"/>
                <a:gd name="connsiteY6" fmla="*/ 152400 h 1500663"/>
                <a:gd name="connsiteX7" fmla="*/ 0 w 2779775"/>
                <a:gd name="connsiteY7" fmla="*/ 1348264 h 1500663"/>
                <a:gd name="connsiteX8" fmla="*/ 152400 w 2779775"/>
                <a:gd name="connsiteY8" fmla="*/ 1500664 h 1500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79775" h="1500663">
                  <a:moveTo>
                    <a:pt x="152400" y="1500664"/>
                  </a:moveTo>
                  <a:lnTo>
                    <a:pt x="2627376" y="1500664"/>
                  </a:lnTo>
                  <a:cubicBezTo>
                    <a:pt x="2711548" y="1500664"/>
                    <a:pt x="2779776" y="1432436"/>
                    <a:pt x="2779776" y="1348264"/>
                  </a:cubicBezTo>
                  <a:lnTo>
                    <a:pt x="2779776" y="152400"/>
                  </a:lnTo>
                  <a:cubicBezTo>
                    <a:pt x="2779776" y="68231"/>
                    <a:pt x="2711548" y="0"/>
                    <a:pt x="2627376" y="0"/>
                  </a:cubicBezTo>
                  <a:lnTo>
                    <a:pt x="152400" y="0"/>
                  </a:lnTo>
                  <a:cubicBezTo>
                    <a:pt x="68228" y="0"/>
                    <a:pt x="0" y="68231"/>
                    <a:pt x="0" y="152400"/>
                  </a:cubicBezTo>
                  <a:lnTo>
                    <a:pt x="0" y="1348264"/>
                  </a:lnTo>
                  <a:cubicBezTo>
                    <a:pt x="0" y="1432436"/>
                    <a:pt x="68228" y="1500664"/>
                    <a:pt x="152400" y="1500664"/>
                  </a:cubicBezTo>
                  <a:close/>
                </a:path>
              </a:pathLst>
            </a:custGeom>
            <a:solidFill>
              <a:srgbClr val="F2F2F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ís1iḓé"/>
            <p:cNvSpPr/>
            <p:nvPr/>
          </p:nvSpPr>
          <p:spPr>
            <a:xfrm>
              <a:off x="3560917" y="1970405"/>
              <a:ext cx="5057467" cy="385479"/>
            </a:xfrm>
            <a:custGeom>
              <a:avLst/>
              <a:gdLst>
                <a:gd name="connsiteX0" fmla="*/ 3124200 w 3124200"/>
                <a:gd name="connsiteY0" fmla="*/ 238127 h 238126"/>
                <a:gd name="connsiteX1" fmla="*/ 0 w 3124200"/>
                <a:gd name="connsiteY1" fmla="*/ 238127 h 238126"/>
                <a:gd name="connsiteX2" fmla="*/ 0 w 3124200"/>
                <a:gd name="connsiteY2" fmla="*/ 158117 h 238126"/>
                <a:gd name="connsiteX3" fmla="*/ 159258 w 3124200"/>
                <a:gd name="connsiteY3" fmla="*/ 1 h 238126"/>
                <a:gd name="connsiteX4" fmla="*/ 159448 w 3124200"/>
                <a:gd name="connsiteY4" fmla="*/ 2 h 238126"/>
                <a:gd name="connsiteX5" fmla="*/ 2964752 w 3124200"/>
                <a:gd name="connsiteY5" fmla="*/ 2 h 238126"/>
                <a:gd name="connsiteX6" fmla="*/ 3124200 w 3124200"/>
                <a:gd name="connsiteY6" fmla="*/ 157641 h 238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24200" h="238126">
                  <a:moveTo>
                    <a:pt x="3124200" y="238127"/>
                  </a:moveTo>
                  <a:lnTo>
                    <a:pt x="0" y="238127"/>
                  </a:lnTo>
                  <a:lnTo>
                    <a:pt x="0" y="158117"/>
                  </a:lnTo>
                  <a:cubicBezTo>
                    <a:pt x="314" y="70477"/>
                    <a:pt x="71619" y="-314"/>
                    <a:pt x="159258" y="1"/>
                  </a:cubicBezTo>
                  <a:cubicBezTo>
                    <a:pt x="159315" y="1"/>
                    <a:pt x="159382" y="2"/>
                    <a:pt x="159448" y="2"/>
                  </a:cubicBezTo>
                  <a:lnTo>
                    <a:pt x="2964752" y="2"/>
                  </a:lnTo>
                  <a:cubicBezTo>
                    <a:pt x="3052277" y="-420"/>
                    <a:pt x="3123619" y="70112"/>
                    <a:pt x="3124200" y="157641"/>
                  </a:cubicBezTo>
                  <a:close/>
                </a:path>
              </a:pathLst>
            </a:custGeom>
            <a:solidFill>
              <a:srgbClr val="848EE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îṥḷiďê"/>
            <p:cNvSpPr/>
            <p:nvPr/>
          </p:nvSpPr>
          <p:spPr>
            <a:xfrm>
              <a:off x="3982013" y="2097153"/>
              <a:ext cx="131986" cy="131988"/>
            </a:xfrm>
            <a:custGeom>
              <a:avLst/>
              <a:gdLst>
                <a:gd name="connsiteX0" fmla="*/ 81534 w 81533"/>
                <a:gd name="connsiteY0" fmla="*/ 40767 h 81534"/>
                <a:gd name="connsiteX1" fmla="*/ 40767 w 81533"/>
                <a:gd name="connsiteY1" fmla="*/ 81534 h 81534"/>
                <a:gd name="connsiteX2" fmla="*/ 0 w 81533"/>
                <a:gd name="connsiteY2" fmla="*/ 40767 h 81534"/>
                <a:gd name="connsiteX3" fmla="*/ 40767 w 81533"/>
                <a:gd name="connsiteY3" fmla="*/ 0 h 81534"/>
                <a:gd name="connsiteX4" fmla="*/ 81534 w 81533"/>
                <a:gd name="connsiteY4" fmla="*/ 40767 h 81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533" h="81534">
                  <a:moveTo>
                    <a:pt x="81534" y="40767"/>
                  </a:moveTo>
                  <a:cubicBezTo>
                    <a:pt x="81534" y="63282"/>
                    <a:pt x="63282" y="81534"/>
                    <a:pt x="40767" y="81534"/>
                  </a:cubicBezTo>
                  <a:cubicBezTo>
                    <a:pt x="18252" y="81534"/>
                    <a:pt x="0" y="63282"/>
                    <a:pt x="0" y="40767"/>
                  </a:cubicBezTo>
                  <a:cubicBezTo>
                    <a:pt x="0" y="18252"/>
                    <a:pt x="18252" y="0"/>
                    <a:pt x="40767" y="0"/>
                  </a:cubicBezTo>
                  <a:cubicBezTo>
                    <a:pt x="63282" y="0"/>
                    <a:pt x="81534" y="18252"/>
                    <a:pt x="81534" y="40767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îṣlíḍê"/>
            <p:cNvSpPr/>
            <p:nvPr/>
          </p:nvSpPr>
          <p:spPr>
            <a:xfrm>
              <a:off x="4232727" y="2097153"/>
              <a:ext cx="131986" cy="131988"/>
            </a:xfrm>
            <a:custGeom>
              <a:avLst/>
              <a:gdLst>
                <a:gd name="connsiteX0" fmla="*/ 81534 w 81533"/>
                <a:gd name="connsiteY0" fmla="*/ 40767 h 81534"/>
                <a:gd name="connsiteX1" fmla="*/ 40767 w 81533"/>
                <a:gd name="connsiteY1" fmla="*/ 81534 h 81534"/>
                <a:gd name="connsiteX2" fmla="*/ 0 w 81533"/>
                <a:gd name="connsiteY2" fmla="*/ 40767 h 81534"/>
                <a:gd name="connsiteX3" fmla="*/ 40767 w 81533"/>
                <a:gd name="connsiteY3" fmla="*/ 0 h 81534"/>
                <a:gd name="connsiteX4" fmla="*/ 81534 w 81533"/>
                <a:gd name="connsiteY4" fmla="*/ 40767 h 81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533" h="81534">
                  <a:moveTo>
                    <a:pt x="81534" y="40767"/>
                  </a:moveTo>
                  <a:cubicBezTo>
                    <a:pt x="81534" y="63282"/>
                    <a:pt x="63282" y="81534"/>
                    <a:pt x="40767" y="81534"/>
                  </a:cubicBezTo>
                  <a:cubicBezTo>
                    <a:pt x="18252" y="81534"/>
                    <a:pt x="0" y="63282"/>
                    <a:pt x="0" y="40767"/>
                  </a:cubicBezTo>
                  <a:cubicBezTo>
                    <a:pt x="0" y="18252"/>
                    <a:pt x="18252" y="0"/>
                    <a:pt x="40767" y="0"/>
                  </a:cubicBezTo>
                  <a:cubicBezTo>
                    <a:pt x="63282" y="0"/>
                    <a:pt x="81534" y="18252"/>
                    <a:pt x="81534" y="40767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ísḷíḓè"/>
            <p:cNvSpPr/>
            <p:nvPr/>
          </p:nvSpPr>
          <p:spPr>
            <a:xfrm>
              <a:off x="4483289" y="2097153"/>
              <a:ext cx="131986" cy="131988"/>
            </a:xfrm>
            <a:custGeom>
              <a:avLst/>
              <a:gdLst>
                <a:gd name="connsiteX0" fmla="*/ 81534 w 81533"/>
                <a:gd name="connsiteY0" fmla="*/ 40767 h 81534"/>
                <a:gd name="connsiteX1" fmla="*/ 40767 w 81533"/>
                <a:gd name="connsiteY1" fmla="*/ 81534 h 81534"/>
                <a:gd name="connsiteX2" fmla="*/ 0 w 81533"/>
                <a:gd name="connsiteY2" fmla="*/ 40767 h 81534"/>
                <a:gd name="connsiteX3" fmla="*/ 40767 w 81533"/>
                <a:gd name="connsiteY3" fmla="*/ 0 h 81534"/>
                <a:gd name="connsiteX4" fmla="*/ 81534 w 81533"/>
                <a:gd name="connsiteY4" fmla="*/ 40767 h 81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533" h="81534">
                  <a:moveTo>
                    <a:pt x="81534" y="40767"/>
                  </a:moveTo>
                  <a:cubicBezTo>
                    <a:pt x="81534" y="63282"/>
                    <a:pt x="63282" y="81534"/>
                    <a:pt x="40767" y="81534"/>
                  </a:cubicBezTo>
                  <a:cubicBezTo>
                    <a:pt x="18252" y="81534"/>
                    <a:pt x="0" y="63282"/>
                    <a:pt x="0" y="40767"/>
                  </a:cubicBezTo>
                  <a:cubicBezTo>
                    <a:pt x="0" y="18252"/>
                    <a:pt x="18252" y="0"/>
                    <a:pt x="40767" y="0"/>
                  </a:cubicBezTo>
                  <a:cubicBezTo>
                    <a:pt x="63282" y="0"/>
                    <a:pt x="81534" y="18252"/>
                    <a:pt x="81534" y="40767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53" name="组合 52"/>
          <p:cNvGrpSpPr/>
          <p:nvPr/>
        </p:nvGrpSpPr>
        <p:grpSpPr>
          <a:xfrm>
            <a:off x="6120063" y="3083632"/>
            <a:ext cx="2054664" cy="1350254"/>
            <a:chOff x="3560917" y="1970405"/>
            <a:chExt cx="5057467" cy="3323591"/>
          </a:xfrm>
        </p:grpSpPr>
        <p:sp>
          <p:nvSpPr>
            <p:cNvPr id="54" name="îṡlíḋe"/>
            <p:cNvSpPr/>
            <p:nvPr/>
          </p:nvSpPr>
          <p:spPr>
            <a:xfrm>
              <a:off x="3572019" y="2167927"/>
              <a:ext cx="5039579" cy="3126069"/>
            </a:xfrm>
            <a:custGeom>
              <a:avLst/>
              <a:gdLst>
                <a:gd name="connsiteX0" fmla="*/ 2946464 w 3113150"/>
                <a:gd name="connsiteY0" fmla="*/ 1931099 h 1931098"/>
                <a:gd name="connsiteX1" fmla="*/ 166688 w 3113150"/>
                <a:gd name="connsiteY1" fmla="*/ 1931099 h 1931098"/>
                <a:gd name="connsiteX2" fmla="*/ 0 w 3113150"/>
                <a:gd name="connsiteY2" fmla="*/ 1764411 h 1931098"/>
                <a:gd name="connsiteX3" fmla="*/ 0 w 3113150"/>
                <a:gd name="connsiteY3" fmla="*/ 124587 h 1931098"/>
                <a:gd name="connsiteX4" fmla="*/ 124682 w 3113150"/>
                <a:gd name="connsiteY4" fmla="*/ 0 h 1931098"/>
                <a:gd name="connsiteX5" fmla="*/ 2986469 w 3113150"/>
                <a:gd name="connsiteY5" fmla="*/ 0 h 1931098"/>
                <a:gd name="connsiteX6" fmla="*/ 3113151 w 3113150"/>
                <a:gd name="connsiteY6" fmla="*/ 126587 h 1931098"/>
                <a:gd name="connsiteX7" fmla="*/ 3113151 w 3113150"/>
                <a:gd name="connsiteY7" fmla="*/ 1764887 h 1931098"/>
                <a:gd name="connsiteX8" fmla="*/ 2946464 w 3113150"/>
                <a:gd name="connsiteY8" fmla="*/ 1931099 h 1931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13150" h="1931098">
                  <a:moveTo>
                    <a:pt x="2946464" y="1931099"/>
                  </a:moveTo>
                  <a:lnTo>
                    <a:pt x="166688" y="1931099"/>
                  </a:lnTo>
                  <a:cubicBezTo>
                    <a:pt x="74676" y="1930994"/>
                    <a:pt x="105" y="1856423"/>
                    <a:pt x="0" y="1764411"/>
                  </a:cubicBezTo>
                  <a:lnTo>
                    <a:pt x="0" y="124587"/>
                  </a:lnTo>
                  <a:cubicBezTo>
                    <a:pt x="105" y="55786"/>
                    <a:pt x="55883" y="52"/>
                    <a:pt x="124682" y="0"/>
                  </a:cubicBezTo>
                  <a:lnTo>
                    <a:pt x="2986469" y="0"/>
                  </a:lnTo>
                  <a:cubicBezTo>
                    <a:pt x="3056392" y="0"/>
                    <a:pt x="3113103" y="56659"/>
                    <a:pt x="3113151" y="126587"/>
                  </a:cubicBezTo>
                  <a:lnTo>
                    <a:pt x="3113151" y="1764887"/>
                  </a:lnTo>
                  <a:cubicBezTo>
                    <a:pt x="3112780" y="1856718"/>
                    <a:pt x="3038294" y="1930994"/>
                    <a:pt x="2946464" y="193109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îšļíḓè"/>
            <p:cNvSpPr/>
            <p:nvPr/>
          </p:nvSpPr>
          <p:spPr>
            <a:xfrm>
              <a:off x="3572019" y="2167927"/>
              <a:ext cx="5039579" cy="3126069"/>
            </a:xfrm>
            <a:custGeom>
              <a:avLst/>
              <a:gdLst>
                <a:gd name="connsiteX0" fmla="*/ 2946464 w 3113150"/>
                <a:gd name="connsiteY0" fmla="*/ 1931099 h 1931098"/>
                <a:gd name="connsiteX1" fmla="*/ 166688 w 3113150"/>
                <a:gd name="connsiteY1" fmla="*/ 1931099 h 1931098"/>
                <a:gd name="connsiteX2" fmla="*/ 0 w 3113150"/>
                <a:gd name="connsiteY2" fmla="*/ 1764411 h 1931098"/>
                <a:gd name="connsiteX3" fmla="*/ 0 w 3113150"/>
                <a:gd name="connsiteY3" fmla="*/ 124587 h 1931098"/>
                <a:gd name="connsiteX4" fmla="*/ 124682 w 3113150"/>
                <a:gd name="connsiteY4" fmla="*/ 0 h 1931098"/>
                <a:gd name="connsiteX5" fmla="*/ 2986469 w 3113150"/>
                <a:gd name="connsiteY5" fmla="*/ 0 h 1931098"/>
                <a:gd name="connsiteX6" fmla="*/ 3113151 w 3113150"/>
                <a:gd name="connsiteY6" fmla="*/ 126587 h 1931098"/>
                <a:gd name="connsiteX7" fmla="*/ 3113151 w 3113150"/>
                <a:gd name="connsiteY7" fmla="*/ 1764887 h 1931098"/>
                <a:gd name="connsiteX8" fmla="*/ 2946464 w 3113150"/>
                <a:gd name="connsiteY8" fmla="*/ 1931099 h 1931098"/>
                <a:gd name="connsiteX9" fmla="*/ 124682 w 3113150"/>
                <a:gd name="connsiteY9" fmla="*/ 19050 h 1931098"/>
                <a:gd name="connsiteX10" fmla="*/ 19050 w 3113150"/>
                <a:gd name="connsiteY10" fmla="*/ 124587 h 1931098"/>
                <a:gd name="connsiteX11" fmla="*/ 19050 w 3113150"/>
                <a:gd name="connsiteY11" fmla="*/ 1764411 h 1931098"/>
                <a:gd name="connsiteX12" fmla="*/ 166688 w 3113150"/>
                <a:gd name="connsiteY12" fmla="*/ 1912049 h 1931098"/>
                <a:gd name="connsiteX13" fmla="*/ 2946464 w 3113150"/>
                <a:gd name="connsiteY13" fmla="*/ 1912049 h 1931098"/>
                <a:gd name="connsiteX14" fmla="*/ 3094101 w 3113150"/>
                <a:gd name="connsiteY14" fmla="*/ 1764411 h 1931098"/>
                <a:gd name="connsiteX15" fmla="*/ 3094101 w 3113150"/>
                <a:gd name="connsiteY15" fmla="*/ 126587 h 1931098"/>
                <a:gd name="connsiteX16" fmla="*/ 2986469 w 3113150"/>
                <a:gd name="connsiteY16" fmla="*/ 19050 h 1931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113150" h="1931098">
                  <a:moveTo>
                    <a:pt x="2946464" y="1931099"/>
                  </a:moveTo>
                  <a:lnTo>
                    <a:pt x="166688" y="1931099"/>
                  </a:lnTo>
                  <a:cubicBezTo>
                    <a:pt x="74676" y="1930994"/>
                    <a:pt x="105" y="1856423"/>
                    <a:pt x="0" y="1764411"/>
                  </a:cubicBezTo>
                  <a:lnTo>
                    <a:pt x="0" y="124587"/>
                  </a:lnTo>
                  <a:cubicBezTo>
                    <a:pt x="105" y="55786"/>
                    <a:pt x="55883" y="52"/>
                    <a:pt x="124682" y="0"/>
                  </a:cubicBezTo>
                  <a:lnTo>
                    <a:pt x="2986469" y="0"/>
                  </a:lnTo>
                  <a:cubicBezTo>
                    <a:pt x="3056392" y="0"/>
                    <a:pt x="3113103" y="56659"/>
                    <a:pt x="3113151" y="126587"/>
                  </a:cubicBezTo>
                  <a:lnTo>
                    <a:pt x="3113151" y="1764887"/>
                  </a:lnTo>
                  <a:cubicBezTo>
                    <a:pt x="3112780" y="1856718"/>
                    <a:pt x="3038294" y="1930994"/>
                    <a:pt x="2946464" y="1931099"/>
                  </a:cubicBezTo>
                  <a:close/>
                  <a:moveTo>
                    <a:pt x="124682" y="19050"/>
                  </a:moveTo>
                  <a:cubicBezTo>
                    <a:pt x="66380" y="19050"/>
                    <a:pt x="19107" y="66285"/>
                    <a:pt x="19050" y="124587"/>
                  </a:cubicBezTo>
                  <a:lnTo>
                    <a:pt x="19050" y="1764411"/>
                  </a:lnTo>
                  <a:cubicBezTo>
                    <a:pt x="19212" y="1845888"/>
                    <a:pt x="85211" y="1911887"/>
                    <a:pt x="166688" y="1912049"/>
                  </a:cubicBezTo>
                  <a:lnTo>
                    <a:pt x="2946464" y="1912049"/>
                  </a:lnTo>
                  <a:cubicBezTo>
                    <a:pt x="3027960" y="1911944"/>
                    <a:pt x="3093996" y="1845907"/>
                    <a:pt x="3094101" y="1764411"/>
                  </a:cubicBezTo>
                  <a:lnTo>
                    <a:pt x="3094101" y="126587"/>
                  </a:lnTo>
                  <a:cubicBezTo>
                    <a:pt x="3093996" y="67203"/>
                    <a:pt x="3045857" y="19102"/>
                    <a:pt x="2986469" y="19050"/>
                  </a:cubicBezTo>
                  <a:close/>
                </a:path>
              </a:pathLst>
            </a:custGeom>
            <a:solidFill>
              <a:srgbClr val="3F3D5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îslíḋè"/>
            <p:cNvSpPr/>
            <p:nvPr/>
          </p:nvSpPr>
          <p:spPr>
            <a:xfrm>
              <a:off x="3841853" y="2594881"/>
              <a:ext cx="4499910" cy="2429280"/>
            </a:xfrm>
            <a:custGeom>
              <a:avLst/>
              <a:gdLst>
                <a:gd name="connsiteX0" fmla="*/ 152400 w 2779775"/>
                <a:gd name="connsiteY0" fmla="*/ 1500664 h 1500663"/>
                <a:gd name="connsiteX1" fmla="*/ 2627376 w 2779775"/>
                <a:gd name="connsiteY1" fmla="*/ 1500664 h 1500663"/>
                <a:gd name="connsiteX2" fmla="*/ 2779776 w 2779775"/>
                <a:gd name="connsiteY2" fmla="*/ 1348264 h 1500663"/>
                <a:gd name="connsiteX3" fmla="*/ 2779776 w 2779775"/>
                <a:gd name="connsiteY3" fmla="*/ 152400 h 1500663"/>
                <a:gd name="connsiteX4" fmla="*/ 2627376 w 2779775"/>
                <a:gd name="connsiteY4" fmla="*/ 0 h 1500663"/>
                <a:gd name="connsiteX5" fmla="*/ 152400 w 2779775"/>
                <a:gd name="connsiteY5" fmla="*/ 0 h 1500663"/>
                <a:gd name="connsiteX6" fmla="*/ 0 w 2779775"/>
                <a:gd name="connsiteY6" fmla="*/ 152400 h 1500663"/>
                <a:gd name="connsiteX7" fmla="*/ 0 w 2779775"/>
                <a:gd name="connsiteY7" fmla="*/ 1348264 h 1500663"/>
                <a:gd name="connsiteX8" fmla="*/ 152400 w 2779775"/>
                <a:gd name="connsiteY8" fmla="*/ 1500664 h 1500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79775" h="1500663">
                  <a:moveTo>
                    <a:pt x="152400" y="1500664"/>
                  </a:moveTo>
                  <a:lnTo>
                    <a:pt x="2627376" y="1500664"/>
                  </a:lnTo>
                  <a:cubicBezTo>
                    <a:pt x="2711548" y="1500664"/>
                    <a:pt x="2779776" y="1432436"/>
                    <a:pt x="2779776" y="1348264"/>
                  </a:cubicBezTo>
                  <a:lnTo>
                    <a:pt x="2779776" y="152400"/>
                  </a:lnTo>
                  <a:cubicBezTo>
                    <a:pt x="2779776" y="68231"/>
                    <a:pt x="2711548" y="0"/>
                    <a:pt x="2627376" y="0"/>
                  </a:cubicBezTo>
                  <a:lnTo>
                    <a:pt x="152400" y="0"/>
                  </a:lnTo>
                  <a:cubicBezTo>
                    <a:pt x="68228" y="0"/>
                    <a:pt x="0" y="68231"/>
                    <a:pt x="0" y="152400"/>
                  </a:cubicBezTo>
                  <a:lnTo>
                    <a:pt x="0" y="1348264"/>
                  </a:lnTo>
                  <a:cubicBezTo>
                    <a:pt x="0" y="1432436"/>
                    <a:pt x="68228" y="1500664"/>
                    <a:pt x="152400" y="1500664"/>
                  </a:cubicBezTo>
                  <a:close/>
                </a:path>
              </a:pathLst>
            </a:custGeom>
            <a:solidFill>
              <a:srgbClr val="F2F2F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ís1iḓé"/>
            <p:cNvSpPr/>
            <p:nvPr/>
          </p:nvSpPr>
          <p:spPr>
            <a:xfrm>
              <a:off x="3560917" y="1970405"/>
              <a:ext cx="5057467" cy="385479"/>
            </a:xfrm>
            <a:custGeom>
              <a:avLst/>
              <a:gdLst>
                <a:gd name="connsiteX0" fmla="*/ 3124200 w 3124200"/>
                <a:gd name="connsiteY0" fmla="*/ 238127 h 238126"/>
                <a:gd name="connsiteX1" fmla="*/ 0 w 3124200"/>
                <a:gd name="connsiteY1" fmla="*/ 238127 h 238126"/>
                <a:gd name="connsiteX2" fmla="*/ 0 w 3124200"/>
                <a:gd name="connsiteY2" fmla="*/ 158117 h 238126"/>
                <a:gd name="connsiteX3" fmla="*/ 159258 w 3124200"/>
                <a:gd name="connsiteY3" fmla="*/ 1 h 238126"/>
                <a:gd name="connsiteX4" fmla="*/ 159448 w 3124200"/>
                <a:gd name="connsiteY4" fmla="*/ 2 h 238126"/>
                <a:gd name="connsiteX5" fmla="*/ 2964752 w 3124200"/>
                <a:gd name="connsiteY5" fmla="*/ 2 h 238126"/>
                <a:gd name="connsiteX6" fmla="*/ 3124200 w 3124200"/>
                <a:gd name="connsiteY6" fmla="*/ 157641 h 238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24200" h="238126">
                  <a:moveTo>
                    <a:pt x="3124200" y="238127"/>
                  </a:moveTo>
                  <a:lnTo>
                    <a:pt x="0" y="238127"/>
                  </a:lnTo>
                  <a:lnTo>
                    <a:pt x="0" y="158117"/>
                  </a:lnTo>
                  <a:cubicBezTo>
                    <a:pt x="314" y="70477"/>
                    <a:pt x="71619" y="-314"/>
                    <a:pt x="159258" y="1"/>
                  </a:cubicBezTo>
                  <a:cubicBezTo>
                    <a:pt x="159315" y="1"/>
                    <a:pt x="159382" y="2"/>
                    <a:pt x="159448" y="2"/>
                  </a:cubicBezTo>
                  <a:lnTo>
                    <a:pt x="2964752" y="2"/>
                  </a:lnTo>
                  <a:cubicBezTo>
                    <a:pt x="3052277" y="-420"/>
                    <a:pt x="3123619" y="70112"/>
                    <a:pt x="3124200" y="157641"/>
                  </a:cubicBezTo>
                  <a:close/>
                </a:path>
              </a:pathLst>
            </a:custGeom>
            <a:solidFill>
              <a:srgbClr val="F3A50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îṥḷiďê"/>
            <p:cNvSpPr/>
            <p:nvPr/>
          </p:nvSpPr>
          <p:spPr>
            <a:xfrm>
              <a:off x="3982013" y="2097153"/>
              <a:ext cx="131986" cy="131988"/>
            </a:xfrm>
            <a:custGeom>
              <a:avLst/>
              <a:gdLst>
                <a:gd name="connsiteX0" fmla="*/ 81534 w 81533"/>
                <a:gd name="connsiteY0" fmla="*/ 40767 h 81534"/>
                <a:gd name="connsiteX1" fmla="*/ 40767 w 81533"/>
                <a:gd name="connsiteY1" fmla="*/ 81534 h 81534"/>
                <a:gd name="connsiteX2" fmla="*/ 0 w 81533"/>
                <a:gd name="connsiteY2" fmla="*/ 40767 h 81534"/>
                <a:gd name="connsiteX3" fmla="*/ 40767 w 81533"/>
                <a:gd name="connsiteY3" fmla="*/ 0 h 81534"/>
                <a:gd name="connsiteX4" fmla="*/ 81534 w 81533"/>
                <a:gd name="connsiteY4" fmla="*/ 40767 h 81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533" h="81534">
                  <a:moveTo>
                    <a:pt x="81534" y="40767"/>
                  </a:moveTo>
                  <a:cubicBezTo>
                    <a:pt x="81534" y="63282"/>
                    <a:pt x="63282" y="81534"/>
                    <a:pt x="40767" y="81534"/>
                  </a:cubicBezTo>
                  <a:cubicBezTo>
                    <a:pt x="18252" y="81534"/>
                    <a:pt x="0" y="63282"/>
                    <a:pt x="0" y="40767"/>
                  </a:cubicBezTo>
                  <a:cubicBezTo>
                    <a:pt x="0" y="18252"/>
                    <a:pt x="18252" y="0"/>
                    <a:pt x="40767" y="0"/>
                  </a:cubicBezTo>
                  <a:cubicBezTo>
                    <a:pt x="63282" y="0"/>
                    <a:pt x="81534" y="18252"/>
                    <a:pt x="81534" y="40767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îṣlíḍê"/>
            <p:cNvSpPr/>
            <p:nvPr/>
          </p:nvSpPr>
          <p:spPr>
            <a:xfrm>
              <a:off x="4232727" y="2097153"/>
              <a:ext cx="131986" cy="131988"/>
            </a:xfrm>
            <a:custGeom>
              <a:avLst/>
              <a:gdLst>
                <a:gd name="connsiteX0" fmla="*/ 81534 w 81533"/>
                <a:gd name="connsiteY0" fmla="*/ 40767 h 81534"/>
                <a:gd name="connsiteX1" fmla="*/ 40767 w 81533"/>
                <a:gd name="connsiteY1" fmla="*/ 81534 h 81534"/>
                <a:gd name="connsiteX2" fmla="*/ 0 w 81533"/>
                <a:gd name="connsiteY2" fmla="*/ 40767 h 81534"/>
                <a:gd name="connsiteX3" fmla="*/ 40767 w 81533"/>
                <a:gd name="connsiteY3" fmla="*/ 0 h 81534"/>
                <a:gd name="connsiteX4" fmla="*/ 81534 w 81533"/>
                <a:gd name="connsiteY4" fmla="*/ 40767 h 81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533" h="81534">
                  <a:moveTo>
                    <a:pt x="81534" y="40767"/>
                  </a:moveTo>
                  <a:cubicBezTo>
                    <a:pt x="81534" y="63282"/>
                    <a:pt x="63282" y="81534"/>
                    <a:pt x="40767" y="81534"/>
                  </a:cubicBezTo>
                  <a:cubicBezTo>
                    <a:pt x="18252" y="81534"/>
                    <a:pt x="0" y="63282"/>
                    <a:pt x="0" y="40767"/>
                  </a:cubicBezTo>
                  <a:cubicBezTo>
                    <a:pt x="0" y="18252"/>
                    <a:pt x="18252" y="0"/>
                    <a:pt x="40767" y="0"/>
                  </a:cubicBezTo>
                  <a:cubicBezTo>
                    <a:pt x="63282" y="0"/>
                    <a:pt x="81534" y="18252"/>
                    <a:pt x="81534" y="40767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ísḷíḓè"/>
            <p:cNvSpPr/>
            <p:nvPr/>
          </p:nvSpPr>
          <p:spPr>
            <a:xfrm>
              <a:off x="4483289" y="2097153"/>
              <a:ext cx="131986" cy="131988"/>
            </a:xfrm>
            <a:custGeom>
              <a:avLst/>
              <a:gdLst>
                <a:gd name="connsiteX0" fmla="*/ 81534 w 81533"/>
                <a:gd name="connsiteY0" fmla="*/ 40767 h 81534"/>
                <a:gd name="connsiteX1" fmla="*/ 40767 w 81533"/>
                <a:gd name="connsiteY1" fmla="*/ 81534 h 81534"/>
                <a:gd name="connsiteX2" fmla="*/ 0 w 81533"/>
                <a:gd name="connsiteY2" fmla="*/ 40767 h 81534"/>
                <a:gd name="connsiteX3" fmla="*/ 40767 w 81533"/>
                <a:gd name="connsiteY3" fmla="*/ 0 h 81534"/>
                <a:gd name="connsiteX4" fmla="*/ 81534 w 81533"/>
                <a:gd name="connsiteY4" fmla="*/ 40767 h 81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533" h="81534">
                  <a:moveTo>
                    <a:pt x="81534" y="40767"/>
                  </a:moveTo>
                  <a:cubicBezTo>
                    <a:pt x="81534" y="63282"/>
                    <a:pt x="63282" y="81534"/>
                    <a:pt x="40767" y="81534"/>
                  </a:cubicBezTo>
                  <a:cubicBezTo>
                    <a:pt x="18252" y="81534"/>
                    <a:pt x="0" y="63282"/>
                    <a:pt x="0" y="40767"/>
                  </a:cubicBezTo>
                  <a:cubicBezTo>
                    <a:pt x="0" y="18252"/>
                    <a:pt x="18252" y="0"/>
                    <a:pt x="40767" y="0"/>
                  </a:cubicBezTo>
                  <a:cubicBezTo>
                    <a:pt x="63282" y="0"/>
                    <a:pt x="81534" y="18252"/>
                    <a:pt x="81534" y="40767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45" name="组合 44"/>
          <p:cNvGrpSpPr/>
          <p:nvPr/>
        </p:nvGrpSpPr>
        <p:grpSpPr>
          <a:xfrm>
            <a:off x="3703807" y="3083632"/>
            <a:ext cx="2054664" cy="1350254"/>
            <a:chOff x="3560917" y="1970405"/>
            <a:chExt cx="5057467" cy="3323591"/>
          </a:xfrm>
        </p:grpSpPr>
        <p:sp>
          <p:nvSpPr>
            <p:cNvPr id="46" name="îṡlíḋe"/>
            <p:cNvSpPr/>
            <p:nvPr/>
          </p:nvSpPr>
          <p:spPr>
            <a:xfrm>
              <a:off x="3572019" y="2167927"/>
              <a:ext cx="5039579" cy="3126069"/>
            </a:xfrm>
            <a:custGeom>
              <a:avLst/>
              <a:gdLst>
                <a:gd name="connsiteX0" fmla="*/ 2946464 w 3113150"/>
                <a:gd name="connsiteY0" fmla="*/ 1931099 h 1931098"/>
                <a:gd name="connsiteX1" fmla="*/ 166688 w 3113150"/>
                <a:gd name="connsiteY1" fmla="*/ 1931099 h 1931098"/>
                <a:gd name="connsiteX2" fmla="*/ 0 w 3113150"/>
                <a:gd name="connsiteY2" fmla="*/ 1764411 h 1931098"/>
                <a:gd name="connsiteX3" fmla="*/ 0 w 3113150"/>
                <a:gd name="connsiteY3" fmla="*/ 124587 h 1931098"/>
                <a:gd name="connsiteX4" fmla="*/ 124682 w 3113150"/>
                <a:gd name="connsiteY4" fmla="*/ 0 h 1931098"/>
                <a:gd name="connsiteX5" fmla="*/ 2986469 w 3113150"/>
                <a:gd name="connsiteY5" fmla="*/ 0 h 1931098"/>
                <a:gd name="connsiteX6" fmla="*/ 3113151 w 3113150"/>
                <a:gd name="connsiteY6" fmla="*/ 126587 h 1931098"/>
                <a:gd name="connsiteX7" fmla="*/ 3113151 w 3113150"/>
                <a:gd name="connsiteY7" fmla="*/ 1764887 h 1931098"/>
                <a:gd name="connsiteX8" fmla="*/ 2946464 w 3113150"/>
                <a:gd name="connsiteY8" fmla="*/ 1931099 h 1931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13150" h="1931098">
                  <a:moveTo>
                    <a:pt x="2946464" y="1931099"/>
                  </a:moveTo>
                  <a:lnTo>
                    <a:pt x="166688" y="1931099"/>
                  </a:lnTo>
                  <a:cubicBezTo>
                    <a:pt x="74676" y="1930994"/>
                    <a:pt x="105" y="1856423"/>
                    <a:pt x="0" y="1764411"/>
                  </a:cubicBezTo>
                  <a:lnTo>
                    <a:pt x="0" y="124587"/>
                  </a:lnTo>
                  <a:cubicBezTo>
                    <a:pt x="105" y="55786"/>
                    <a:pt x="55883" y="52"/>
                    <a:pt x="124682" y="0"/>
                  </a:cubicBezTo>
                  <a:lnTo>
                    <a:pt x="2986469" y="0"/>
                  </a:lnTo>
                  <a:cubicBezTo>
                    <a:pt x="3056392" y="0"/>
                    <a:pt x="3113103" y="56659"/>
                    <a:pt x="3113151" y="126587"/>
                  </a:cubicBezTo>
                  <a:lnTo>
                    <a:pt x="3113151" y="1764887"/>
                  </a:lnTo>
                  <a:cubicBezTo>
                    <a:pt x="3112780" y="1856718"/>
                    <a:pt x="3038294" y="1930994"/>
                    <a:pt x="2946464" y="193109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îšļíḓè"/>
            <p:cNvSpPr/>
            <p:nvPr/>
          </p:nvSpPr>
          <p:spPr>
            <a:xfrm>
              <a:off x="3572019" y="2167927"/>
              <a:ext cx="5039579" cy="3126069"/>
            </a:xfrm>
            <a:custGeom>
              <a:avLst/>
              <a:gdLst>
                <a:gd name="connsiteX0" fmla="*/ 2946464 w 3113150"/>
                <a:gd name="connsiteY0" fmla="*/ 1931099 h 1931098"/>
                <a:gd name="connsiteX1" fmla="*/ 166688 w 3113150"/>
                <a:gd name="connsiteY1" fmla="*/ 1931099 h 1931098"/>
                <a:gd name="connsiteX2" fmla="*/ 0 w 3113150"/>
                <a:gd name="connsiteY2" fmla="*/ 1764411 h 1931098"/>
                <a:gd name="connsiteX3" fmla="*/ 0 w 3113150"/>
                <a:gd name="connsiteY3" fmla="*/ 124587 h 1931098"/>
                <a:gd name="connsiteX4" fmla="*/ 124682 w 3113150"/>
                <a:gd name="connsiteY4" fmla="*/ 0 h 1931098"/>
                <a:gd name="connsiteX5" fmla="*/ 2986469 w 3113150"/>
                <a:gd name="connsiteY5" fmla="*/ 0 h 1931098"/>
                <a:gd name="connsiteX6" fmla="*/ 3113151 w 3113150"/>
                <a:gd name="connsiteY6" fmla="*/ 126587 h 1931098"/>
                <a:gd name="connsiteX7" fmla="*/ 3113151 w 3113150"/>
                <a:gd name="connsiteY7" fmla="*/ 1764887 h 1931098"/>
                <a:gd name="connsiteX8" fmla="*/ 2946464 w 3113150"/>
                <a:gd name="connsiteY8" fmla="*/ 1931099 h 1931098"/>
                <a:gd name="connsiteX9" fmla="*/ 124682 w 3113150"/>
                <a:gd name="connsiteY9" fmla="*/ 19050 h 1931098"/>
                <a:gd name="connsiteX10" fmla="*/ 19050 w 3113150"/>
                <a:gd name="connsiteY10" fmla="*/ 124587 h 1931098"/>
                <a:gd name="connsiteX11" fmla="*/ 19050 w 3113150"/>
                <a:gd name="connsiteY11" fmla="*/ 1764411 h 1931098"/>
                <a:gd name="connsiteX12" fmla="*/ 166688 w 3113150"/>
                <a:gd name="connsiteY12" fmla="*/ 1912049 h 1931098"/>
                <a:gd name="connsiteX13" fmla="*/ 2946464 w 3113150"/>
                <a:gd name="connsiteY13" fmla="*/ 1912049 h 1931098"/>
                <a:gd name="connsiteX14" fmla="*/ 3094101 w 3113150"/>
                <a:gd name="connsiteY14" fmla="*/ 1764411 h 1931098"/>
                <a:gd name="connsiteX15" fmla="*/ 3094101 w 3113150"/>
                <a:gd name="connsiteY15" fmla="*/ 126587 h 1931098"/>
                <a:gd name="connsiteX16" fmla="*/ 2986469 w 3113150"/>
                <a:gd name="connsiteY16" fmla="*/ 19050 h 1931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113150" h="1931098">
                  <a:moveTo>
                    <a:pt x="2946464" y="1931099"/>
                  </a:moveTo>
                  <a:lnTo>
                    <a:pt x="166688" y="1931099"/>
                  </a:lnTo>
                  <a:cubicBezTo>
                    <a:pt x="74676" y="1930994"/>
                    <a:pt x="105" y="1856423"/>
                    <a:pt x="0" y="1764411"/>
                  </a:cubicBezTo>
                  <a:lnTo>
                    <a:pt x="0" y="124587"/>
                  </a:lnTo>
                  <a:cubicBezTo>
                    <a:pt x="105" y="55786"/>
                    <a:pt x="55883" y="52"/>
                    <a:pt x="124682" y="0"/>
                  </a:cubicBezTo>
                  <a:lnTo>
                    <a:pt x="2986469" y="0"/>
                  </a:lnTo>
                  <a:cubicBezTo>
                    <a:pt x="3056392" y="0"/>
                    <a:pt x="3113103" y="56659"/>
                    <a:pt x="3113151" y="126587"/>
                  </a:cubicBezTo>
                  <a:lnTo>
                    <a:pt x="3113151" y="1764887"/>
                  </a:lnTo>
                  <a:cubicBezTo>
                    <a:pt x="3112780" y="1856718"/>
                    <a:pt x="3038294" y="1930994"/>
                    <a:pt x="2946464" y="1931099"/>
                  </a:cubicBezTo>
                  <a:close/>
                  <a:moveTo>
                    <a:pt x="124682" y="19050"/>
                  </a:moveTo>
                  <a:cubicBezTo>
                    <a:pt x="66380" y="19050"/>
                    <a:pt x="19107" y="66285"/>
                    <a:pt x="19050" y="124587"/>
                  </a:cubicBezTo>
                  <a:lnTo>
                    <a:pt x="19050" y="1764411"/>
                  </a:lnTo>
                  <a:cubicBezTo>
                    <a:pt x="19212" y="1845888"/>
                    <a:pt x="85211" y="1911887"/>
                    <a:pt x="166688" y="1912049"/>
                  </a:cubicBezTo>
                  <a:lnTo>
                    <a:pt x="2946464" y="1912049"/>
                  </a:lnTo>
                  <a:cubicBezTo>
                    <a:pt x="3027960" y="1911944"/>
                    <a:pt x="3093996" y="1845907"/>
                    <a:pt x="3094101" y="1764411"/>
                  </a:cubicBezTo>
                  <a:lnTo>
                    <a:pt x="3094101" y="126587"/>
                  </a:lnTo>
                  <a:cubicBezTo>
                    <a:pt x="3093996" y="67203"/>
                    <a:pt x="3045857" y="19102"/>
                    <a:pt x="2986469" y="19050"/>
                  </a:cubicBezTo>
                  <a:close/>
                </a:path>
              </a:pathLst>
            </a:custGeom>
            <a:solidFill>
              <a:srgbClr val="3F3D5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îslíḋè"/>
            <p:cNvSpPr/>
            <p:nvPr/>
          </p:nvSpPr>
          <p:spPr>
            <a:xfrm>
              <a:off x="3841852" y="2594881"/>
              <a:ext cx="4499910" cy="2429279"/>
            </a:xfrm>
            <a:custGeom>
              <a:avLst/>
              <a:gdLst>
                <a:gd name="connsiteX0" fmla="*/ 152400 w 2779775"/>
                <a:gd name="connsiteY0" fmla="*/ 1500664 h 1500663"/>
                <a:gd name="connsiteX1" fmla="*/ 2627376 w 2779775"/>
                <a:gd name="connsiteY1" fmla="*/ 1500664 h 1500663"/>
                <a:gd name="connsiteX2" fmla="*/ 2779776 w 2779775"/>
                <a:gd name="connsiteY2" fmla="*/ 1348264 h 1500663"/>
                <a:gd name="connsiteX3" fmla="*/ 2779776 w 2779775"/>
                <a:gd name="connsiteY3" fmla="*/ 152400 h 1500663"/>
                <a:gd name="connsiteX4" fmla="*/ 2627376 w 2779775"/>
                <a:gd name="connsiteY4" fmla="*/ 0 h 1500663"/>
                <a:gd name="connsiteX5" fmla="*/ 152400 w 2779775"/>
                <a:gd name="connsiteY5" fmla="*/ 0 h 1500663"/>
                <a:gd name="connsiteX6" fmla="*/ 0 w 2779775"/>
                <a:gd name="connsiteY6" fmla="*/ 152400 h 1500663"/>
                <a:gd name="connsiteX7" fmla="*/ 0 w 2779775"/>
                <a:gd name="connsiteY7" fmla="*/ 1348264 h 1500663"/>
                <a:gd name="connsiteX8" fmla="*/ 152400 w 2779775"/>
                <a:gd name="connsiteY8" fmla="*/ 1500664 h 1500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79775" h="1500663">
                  <a:moveTo>
                    <a:pt x="152400" y="1500664"/>
                  </a:moveTo>
                  <a:lnTo>
                    <a:pt x="2627376" y="1500664"/>
                  </a:lnTo>
                  <a:cubicBezTo>
                    <a:pt x="2711548" y="1500664"/>
                    <a:pt x="2779776" y="1432436"/>
                    <a:pt x="2779776" y="1348264"/>
                  </a:cubicBezTo>
                  <a:lnTo>
                    <a:pt x="2779776" y="152400"/>
                  </a:lnTo>
                  <a:cubicBezTo>
                    <a:pt x="2779776" y="68231"/>
                    <a:pt x="2711548" y="0"/>
                    <a:pt x="2627376" y="0"/>
                  </a:cubicBezTo>
                  <a:lnTo>
                    <a:pt x="152400" y="0"/>
                  </a:lnTo>
                  <a:cubicBezTo>
                    <a:pt x="68228" y="0"/>
                    <a:pt x="0" y="68231"/>
                    <a:pt x="0" y="152400"/>
                  </a:cubicBezTo>
                  <a:lnTo>
                    <a:pt x="0" y="1348264"/>
                  </a:lnTo>
                  <a:cubicBezTo>
                    <a:pt x="0" y="1432436"/>
                    <a:pt x="68228" y="1500664"/>
                    <a:pt x="152400" y="1500664"/>
                  </a:cubicBezTo>
                  <a:close/>
                </a:path>
              </a:pathLst>
            </a:custGeom>
            <a:solidFill>
              <a:srgbClr val="F2F2F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ís1iḓé"/>
            <p:cNvSpPr/>
            <p:nvPr/>
          </p:nvSpPr>
          <p:spPr>
            <a:xfrm>
              <a:off x="3560917" y="1970405"/>
              <a:ext cx="5057467" cy="385479"/>
            </a:xfrm>
            <a:custGeom>
              <a:avLst/>
              <a:gdLst>
                <a:gd name="connsiteX0" fmla="*/ 3124200 w 3124200"/>
                <a:gd name="connsiteY0" fmla="*/ 238127 h 238126"/>
                <a:gd name="connsiteX1" fmla="*/ 0 w 3124200"/>
                <a:gd name="connsiteY1" fmla="*/ 238127 h 238126"/>
                <a:gd name="connsiteX2" fmla="*/ 0 w 3124200"/>
                <a:gd name="connsiteY2" fmla="*/ 158117 h 238126"/>
                <a:gd name="connsiteX3" fmla="*/ 159258 w 3124200"/>
                <a:gd name="connsiteY3" fmla="*/ 1 h 238126"/>
                <a:gd name="connsiteX4" fmla="*/ 159448 w 3124200"/>
                <a:gd name="connsiteY4" fmla="*/ 2 h 238126"/>
                <a:gd name="connsiteX5" fmla="*/ 2964752 w 3124200"/>
                <a:gd name="connsiteY5" fmla="*/ 2 h 238126"/>
                <a:gd name="connsiteX6" fmla="*/ 3124200 w 3124200"/>
                <a:gd name="connsiteY6" fmla="*/ 157641 h 238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24200" h="238126">
                  <a:moveTo>
                    <a:pt x="3124200" y="238127"/>
                  </a:moveTo>
                  <a:lnTo>
                    <a:pt x="0" y="238127"/>
                  </a:lnTo>
                  <a:lnTo>
                    <a:pt x="0" y="158117"/>
                  </a:lnTo>
                  <a:cubicBezTo>
                    <a:pt x="314" y="70477"/>
                    <a:pt x="71619" y="-314"/>
                    <a:pt x="159258" y="1"/>
                  </a:cubicBezTo>
                  <a:cubicBezTo>
                    <a:pt x="159315" y="1"/>
                    <a:pt x="159382" y="2"/>
                    <a:pt x="159448" y="2"/>
                  </a:cubicBezTo>
                  <a:lnTo>
                    <a:pt x="2964752" y="2"/>
                  </a:lnTo>
                  <a:cubicBezTo>
                    <a:pt x="3052277" y="-420"/>
                    <a:pt x="3123619" y="70112"/>
                    <a:pt x="3124200" y="157641"/>
                  </a:cubicBezTo>
                  <a:close/>
                </a:path>
              </a:pathLst>
            </a:custGeom>
            <a:solidFill>
              <a:srgbClr val="848EE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îṥḷiďê"/>
            <p:cNvSpPr/>
            <p:nvPr/>
          </p:nvSpPr>
          <p:spPr>
            <a:xfrm>
              <a:off x="3982013" y="2097153"/>
              <a:ext cx="131986" cy="131988"/>
            </a:xfrm>
            <a:custGeom>
              <a:avLst/>
              <a:gdLst>
                <a:gd name="connsiteX0" fmla="*/ 81534 w 81533"/>
                <a:gd name="connsiteY0" fmla="*/ 40767 h 81534"/>
                <a:gd name="connsiteX1" fmla="*/ 40767 w 81533"/>
                <a:gd name="connsiteY1" fmla="*/ 81534 h 81534"/>
                <a:gd name="connsiteX2" fmla="*/ 0 w 81533"/>
                <a:gd name="connsiteY2" fmla="*/ 40767 h 81534"/>
                <a:gd name="connsiteX3" fmla="*/ 40767 w 81533"/>
                <a:gd name="connsiteY3" fmla="*/ 0 h 81534"/>
                <a:gd name="connsiteX4" fmla="*/ 81534 w 81533"/>
                <a:gd name="connsiteY4" fmla="*/ 40767 h 81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533" h="81534">
                  <a:moveTo>
                    <a:pt x="81534" y="40767"/>
                  </a:moveTo>
                  <a:cubicBezTo>
                    <a:pt x="81534" y="63282"/>
                    <a:pt x="63282" y="81534"/>
                    <a:pt x="40767" y="81534"/>
                  </a:cubicBezTo>
                  <a:cubicBezTo>
                    <a:pt x="18252" y="81534"/>
                    <a:pt x="0" y="63282"/>
                    <a:pt x="0" y="40767"/>
                  </a:cubicBezTo>
                  <a:cubicBezTo>
                    <a:pt x="0" y="18252"/>
                    <a:pt x="18252" y="0"/>
                    <a:pt x="40767" y="0"/>
                  </a:cubicBezTo>
                  <a:cubicBezTo>
                    <a:pt x="63282" y="0"/>
                    <a:pt x="81534" y="18252"/>
                    <a:pt x="81534" y="40767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îṣlíḍê"/>
            <p:cNvSpPr/>
            <p:nvPr/>
          </p:nvSpPr>
          <p:spPr>
            <a:xfrm>
              <a:off x="4232727" y="2097153"/>
              <a:ext cx="131986" cy="131988"/>
            </a:xfrm>
            <a:custGeom>
              <a:avLst/>
              <a:gdLst>
                <a:gd name="connsiteX0" fmla="*/ 81534 w 81533"/>
                <a:gd name="connsiteY0" fmla="*/ 40767 h 81534"/>
                <a:gd name="connsiteX1" fmla="*/ 40767 w 81533"/>
                <a:gd name="connsiteY1" fmla="*/ 81534 h 81534"/>
                <a:gd name="connsiteX2" fmla="*/ 0 w 81533"/>
                <a:gd name="connsiteY2" fmla="*/ 40767 h 81534"/>
                <a:gd name="connsiteX3" fmla="*/ 40767 w 81533"/>
                <a:gd name="connsiteY3" fmla="*/ 0 h 81534"/>
                <a:gd name="connsiteX4" fmla="*/ 81534 w 81533"/>
                <a:gd name="connsiteY4" fmla="*/ 40767 h 81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533" h="81534">
                  <a:moveTo>
                    <a:pt x="81534" y="40767"/>
                  </a:moveTo>
                  <a:cubicBezTo>
                    <a:pt x="81534" y="63282"/>
                    <a:pt x="63282" y="81534"/>
                    <a:pt x="40767" y="81534"/>
                  </a:cubicBezTo>
                  <a:cubicBezTo>
                    <a:pt x="18252" y="81534"/>
                    <a:pt x="0" y="63282"/>
                    <a:pt x="0" y="40767"/>
                  </a:cubicBezTo>
                  <a:cubicBezTo>
                    <a:pt x="0" y="18252"/>
                    <a:pt x="18252" y="0"/>
                    <a:pt x="40767" y="0"/>
                  </a:cubicBezTo>
                  <a:cubicBezTo>
                    <a:pt x="63282" y="0"/>
                    <a:pt x="81534" y="18252"/>
                    <a:pt x="81534" y="40767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ísḷíḓè"/>
            <p:cNvSpPr/>
            <p:nvPr/>
          </p:nvSpPr>
          <p:spPr>
            <a:xfrm>
              <a:off x="4483289" y="2097153"/>
              <a:ext cx="131986" cy="131988"/>
            </a:xfrm>
            <a:custGeom>
              <a:avLst/>
              <a:gdLst>
                <a:gd name="connsiteX0" fmla="*/ 81534 w 81533"/>
                <a:gd name="connsiteY0" fmla="*/ 40767 h 81534"/>
                <a:gd name="connsiteX1" fmla="*/ 40767 w 81533"/>
                <a:gd name="connsiteY1" fmla="*/ 81534 h 81534"/>
                <a:gd name="connsiteX2" fmla="*/ 0 w 81533"/>
                <a:gd name="connsiteY2" fmla="*/ 40767 h 81534"/>
                <a:gd name="connsiteX3" fmla="*/ 40767 w 81533"/>
                <a:gd name="connsiteY3" fmla="*/ 0 h 81534"/>
                <a:gd name="connsiteX4" fmla="*/ 81534 w 81533"/>
                <a:gd name="connsiteY4" fmla="*/ 40767 h 81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533" h="81534">
                  <a:moveTo>
                    <a:pt x="81534" y="40767"/>
                  </a:moveTo>
                  <a:cubicBezTo>
                    <a:pt x="81534" y="63282"/>
                    <a:pt x="63282" y="81534"/>
                    <a:pt x="40767" y="81534"/>
                  </a:cubicBezTo>
                  <a:cubicBezTo>
                    <a:pt x="18252" y="81534"/>
                    <a:pt x="0" y="63282"/>
                    <a:pt x="0" y="40767"/>
                  </a:cubicBezTo>
                  <a:cubicBezTo>
                    <a:pt x="0" y="18252"/>
                    <a:pt x="18252" y="0"/>
                    <a:pt x="40767" y="0"/>
                  </a:cubicBezTo>
                  <a:cubicBezTo>
                    <a:pt x="63282" y="0"/>
                    <a:pt x="81534" y="18252"/>
                    <a:pt x="81534" y="40767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36" name="组合 35"/>
          <p:cNvGrpSpPr/>
          <p:nvPr/>
        </p:nvGrpSpPr>
        <p:grpSpPr>
          <a:xfrm>
            <a:off x="1287551" y="3083632"/>
            <a:ext cx="2054664" cy="1350254"/>
            <a:chOff x="3560917" y="1970405"/>
            <a:chExt cx="5057467" cy="3323591"/>
          </a:xfrm>
        </p:grpSpPr>
        <p:sp>
          <p:nvSpPr>
            <p:cNvPr id="37" name="îṡlíḋe"/>
            <p:cNvSpPr/>
            <p:nvPr/>
          </p:nvSpPr>
          <p:spPr>
            <a:xfrm>
              <a:off x="3572019" y="2167927"/>
              <a:ext cx="5039579" cy="3126069"/>
            </a:xfrm>
            <a:custGeom>
              <a:avLst/>
              <a:gdLst>
                <a:gd name="connsiteX0" fmla="*/ 2946464 w 3113150"/>
                <a:gd name="connsiteY0" fmla="*/ 1931099 h 1931098"/>
                <a:gd name="connsiteX1" fmla="*/ 166688 w 3113150"/>
                <a:gd name="connsiteY1" fmla="*/ 1931099 h 1931098"/>
                <a:gd name="connsiteX2" fmla="*/ 0 w 3113150"/>
                <a:gd name="connsiteY2" fmla="*/ 1764411 h 1931098"/>
                <a:gd name="connsiteX3" fmla="*/ 0 w 3113150"/>
                <a:gd name="connsiteY3" fmla="*/ 124587 h 1931098"/>
                <a:gd name="connsiteX4" fmla="*/ 124682 w 3113150"/>
                <a:gd name="connsiteY4" fmla="*/ 0 h 1931098"/>
                <a:gd name="connsiteX5" fmla="*/ 2986469 w 3113150"/>
                <a:gd name="connsiteY5" fmla="*/ 0 h 1931098"/>
                <a:gd name="connsiteX6" fmla="*/ 3113151 w 3113150"/>
                <a:gd name="connsiteY6" fmla="*/ 126587 h 1931098"/>
                <a:gd name="connsiteX7" fmla="*/ 3113151 w 3113150"/>
                <a:gd name="connsiteY7" fmla="*/ 1764887 h 1931098"/>
                <a:gd name="connsiteX8" fmla="*/ 2946464 w 3113150"/>
                <a:gd name="connsiteY8" fmla="*/ 1931099 h 1931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13150" h="1931098">
                  <a:moveTo>
                    <a:pt x="2946464" y="1931099"/>
                  </a:moveTo>
                  <a:lnTo>
                    <a:pt x="166688" y="1931099"/>
                  </a:lnTo>
                  <a:cubicBezTo>
                    <a:pt x="74676" y="1930994"/>
                    <a:pt x="105" y="1856423"/>
                    <a:pt x="0" y="1764411"/>
                  </a:cubicBezTo>
                  <a:lnTo>
                    <a:pt x="0" y="124587"/>
                  </a:lnTo>
                  <a:cubicBezTo>
                    <a:pt x="105" y="55786"/>
                    <a:pt x="55883" y="52"/>
                    <a:pt x="124682" y="0"/>
                  </a:cubicBezTo>
                  <a:lnTo>
                    <a:pt x="2986469" y="0"/>
                  </a:lnTo>
                  <a:cubicBezTo>
                    <a:pt x="3056392" y="0"/>
                    <a:pt x="3113103" y="56659"/>
                    <a:pt x="3113151" y="126587"/>
                  </a:cubicBezTo>
                  <a:lnTo>
                    <a:pt x="3113151" y="1764887"/>
                  </a:lnTo>
                  <a:cubicBezTo>
                    <a:pt x="3112780" y="1856718"/>
                    <a:pt x="3038294" y="1930994"/>
                    <a:pt x="2946464" y="193109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îšļíḓè"/>
            <p:cNvSpPr/>
            <p:nvPr/>
          </p:nvSpPr>
          <p:spPr>
            <a:xfrm>
              <a:off x="3572019" y="2167927"/>
              <a:ext cx="5039579" cy="3126069"/>
            </a:xfrm>
            <a:custGeom>
              <a:avLst/>
              <a:gdLst>
                <a:gd name="connsiteX0" fmla="*/ 2946464 w 3113150"/>
                <a:gd name="connsiteY0" fmla="*/ 1931099 h 1931098"/>
                <a:gd name="connsiteX1" fmla="*/ 166688 w 3113150"/>
                <a:gd name="connsiteY1" fmla="*/ 1931099 h 1931098"/>
                <a:gd name="connsiteX2" fmla="*/ 0 w 3113150"/>
                <a:gd name="connsiteY2" fmla="*/ 1764411 h 1931098"/>
                <a:gd name="connsiteX3" fmla="*/ 0 w 3113150"/>
                <a:gd name="connsiteY3" fmla="*/ 124587 h 1931098"/>
                <a:gd name="connsiteX4" fmla="*/ 124682 w 3113150"/>
                <a:gd name="connsiteY4" fmla="*/ 0 h 1931098"/>
                <a:gd name="connsiteX5" fmla="*/ 2986469 w 3113150"/>
                <a:gd name="connsiteY5" fmla="*/ 0 h 1931098"/>
                <a:gd name="connsiteX6" fmla="*/ 3113151 w 3113150"/>
                <a:gd name="connsiteY6" fmla="*/ 126587 h 1931098"/>
                <a:gd name="connsiteX7" fmla="*/ 3113151 w 3113150"/>
                <a:gd name="connsiteY7" fmla="*/ 1764887 h 1931098"/>
                <a:gd name="connsiteX8" fmla="*/ 2946464 w 3113150"/>
                <a:gd name="connsiteY8" fmla="*/ 1931099 h 1931098"/>
                <a:gd name="connsiteX9" fmla="*/ 124682 w 3113150"/>
                <a:gd name="connsiteY9" fmla="*/ 19050 h 1931098"/>
                <a:gd name="connsiteX10" fmla="*/ 19050 w 3113150"/>
                <a:gd name="connsiteY10" fmla="*/ 124587 h 1931098"/>
                <a:gd name="connsiteX11" fmla="*/ 19050 w 3113150"/>
                <a:gd name="connsiteY11" fmla="*/ 1764411 h 1931098"/>
                <a:gd name="connsiteX12" fmla="*/ 166688 w 3113150"/>
                <a:gd name="connsiteY12" fmla="*/ 1912049 h 1931098"/>
                <a:gd name="connsiteX13" fmla="*/ 2946464 w 3113150"/>
                <a:gd name="connsiteY13" fmla="*/ 1912049 h 1931098"/>
                <a:gd name="connsiteX14" fmla="*/ 3094101 w 3113150"/>
                <a:gd name="connsiteY14" fmla="*/ 1764411 h 1931098"/>
                <a:gd name="connsiteX15" fmla="*/ 3094101 w 3113150"/>
                <a:gd name="connsiteY15" fmla="*/ 126587 h 1931098"/>
                <a:gd name="connsiteX16" fmla="*/ 2986469 w 3113150"/>
                <a:gd name="connsiteY16" fmla="*/ 19050 h 1931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113150" h="1931098">
                  <a:moveTo>
                    <a:pt x="2946464" y="1931099"/>
                  </a:moveTo>
                  <a:lnTo>
                    <a:pt x="166688" y="1931099"/>
                  </a:lnTo>
                  <a:cubicBezTo>
                    <a:pt x="74676" y="1930994"/>
                    <a:pt x="105" y="1856423"/>
                    <a:pt x="0" y="1764411"/>
                  </a:cubicBezTo>
                  <a:lnTo>
                    <a:pt x="0" y="124587"/>
                  </a:lnTo>
                  <a:cubicBezTo>
                    <a:pt x="105" y="55786"/>
                    <a:pt x="55883" y="52"/>
                    <a:pt x="124682" y="0"/>
                  </a:cubicBezTo>
                  <a:lnTo>
                    <a:pt x="2986469" y="0"/>
                  </a:lnTo>
                  <a:cubicBezTo>
                    <a:pt x="3056392" y="0"/>
                    <a:pt x="3113103" y="56659"/>
                    <a:pt x="3113151" y="126587"/>
                  </a:cubicBezTo>
                  <a:lnTo>
                    <a:pt x="3113151" y="1764887"/>
                  </a:lnTo>
                  <a:cubicBezTo>
                    <a:pt x="3112780" y="1856718"/>
                    <a:pt x="3038294" y="1930994"/>
                    <a:pt x="2946464" y="1931099"/>
                  </a:cubicBezTo>
                  <a:close/>
                  <a:moveTo>
                    <a:pt x="124682" y="19050"/>
                  </a:moveTo>
                  <a:cubicBezTo>
                    <a:pt x="66380" y="19050"/>
                    <a:pt x="19107" y="66285"/>
                    <a:pt x="19050" y="124587"/>
                  </a:cubicBezTo>
                  <a:lnTo>
                    <a:pt x="19050" y="1764411"/>
                  </a:lnTo>
                  <a:cubicBezTo>
                    <a:pt x="19212" y="1845888"/>
                    <a:pt x="85211" y="1911887"/>
                    <a:pt x="166688" y="1912049"/>
                  </a:cubicBezTo>
                  <a:lnTo>
                    <a:pt x="2946464" y="1912049"/>
                  </a:lnTo>
                  <a:cubicBezTo>
                    <a:pt x="3027960" y="1911944"/>
                    <a:pt x="3093996" y="1845907"/>
                    <a:pt x="3094101" y="1764411"/>
                  </a:cubicBezTo>
                  <a:lnTo>
                    <a:pt x="3094101" y="126587"/>
                  </a:lnTo>
                  <a:cubicBezTo>
                    <a:pt x="3093996" y="67203"/>
                    <a:pt x="3045857" y="19102"/>
                    <a:pt x="2986469" y="19050"/>
                  </a:cubicBezTo>
                  <a:close/>
                </a:path>
              </a:pathLst>
            </a:custGeom>
            <a:solidFill>
              <a:srgbClr val="3F3D5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îslíḋè"/>
            <p:cNvSpPr/>
            <p:nvPr/>
          </p:nvSpPr>
          <p:spPr>
            <a:xfrm>
              <a:off x="3841852" y="2594881"/>
              <a:ext cx="4499910" cy="2429279"/>
            </a:xfrm>
            <a:custGeom>
              <a:avLst/>
              <a:gdLst>
                <a:gd name="connsiteX0" fmla="*/ 152400 w 2779775"/>
                <a:gd name="connsiteY0" fmla="*/ 1500664 h 1500663"/>
                <a:gd name="connsiteX1" fmla="*/ 2627376 w 2779775"/>
                <a:gd name="connsiteY1" fmla="*/ 1500664 h 1500663"/>
                <a:gd name="connsiteX2" fmla="*/ 2779776 w 2779775"/>
                <a:gd name="connsiteY2" fmla="*/ 1348264 h 1500663"/>
                <a:gd name="connsiteX3" fmla="*/ 2779776 w 2779775"/>
                <a:gd name="connsiteY3" fmla="*/ 152400 h 1500663"/>
                <a:gd name="connsiteX4" fmla="*/ 2627376 w 2779775"/>
                <a:gd name="connsiteY4" fmla="*/ 0 h 1500663"/>
                <a:gd name="connsiteX5" fmla="*/ 152400 w 2779775"/>
                <a:gd name="connsiteY5" fmla="*/ 0 h 1500663"/>
                <a:gd name="connsiteX6" fmla="*/ 0 w 2779775"/>
                <a:gd name="connsiteY6" fmla="*/ 152400 h 1500663"/>
                <a:gd name="connsiteX7" fmla="*/ 0 w 2779775"/>
                <a:gd name="connsiteY7" fmla="*/ 1348264 h 1500663"/>
                <a:gd name="connsiteX8" fmla="*/ 152400 w 2779775"/>
                <a:gd name="connsiteY8" fmla="*/ 1500664 h 1500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79775" h="1500663">
                  <a:moveTo>
                    <a:pt x="152400" y="1500664"/>
                  </a:moveTo>
                  <a:lnTo>
                    <a:pt x="2627376" y="1500664"/>
                  </a:lnTo>
                  <a:cubicBezTo>
                    <a:pt x="2711548" y="1500664"/>
                    <a:pt x="2779776" y="1432436"/>
                    <a:pt x="2779776" y="1348264"/>
                  </a:cubicBezTo>
                  <a:lnTo>
                    <a:pt x="2779776" y="152400"/>
                  </a:lnTo>
                  <a:cubicBezTo>
                    <a:pt x="2779776" y="68231"/>
                    <a:pt x="2711548" y="0"/>
                    <a:pt x="2627376" y="0"/>
                  </a:cubicBezTo>
                  <a:lnTo>
                    <a:pt x="152400" y="0"/>
                  </a:lnTo>
                  <a:cubicBezTo>
                    <a:pt x="68228" y="0"/>
                    <a:pt x="0" y="68231"/>
                    <a:pt x="0" y="152400"/>
                  </a:cubicBezTo>
                  <a:lnTo>
                    <a:pt x="0" y="1348264"/>
                  </a:lnTo>
                  <a:cubicBezTo>
                    <a:pt x="0" y="1432436"/>
                    <a:pt x="68228" y="1500664"/>
                    <a:pt x="152400" y="1500664"/>
                  </a:cubicBezTo>
                  <a:close/>
                </a:path>
              </a:pathLst>
            </a:custGeom>
            <a:solidFill>
              <a:srgbClr val="F2F2F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ís1iḓé"/>
            <p:cNvSpPr/>
            <p:nvPr/>
          </p:nvSpPr>
          <p:spPr>
            <a:xfrm>
              <a:off x="3560917" y="1970405"/>
              <a:ext cx="5057467" cy="385479"/>
            </a:xfrm>
            <a:custGeom>
              <a:avLst/>
              <a:gdLst>
                <a:gd name="connsiteX0" fmla="*/ 3124200 w 3124200"/>
                <a:gd name="connsiteY0" fmla="*/ 238127 h 238126"/>
                <a:gd name="connsiteX1" fmla="*/ 0 w 3124200"/>
                <a:gd name="connsiteY1" fmla="*/ 238127 h 238126"/>
                <a:gd name="connsiteX2" fmla="*/ 0 w 3124200"/>
                <a:gd name="connsiteY2" fmla="*/ 158117 h 238126"/>
                <a:gd name="connsiteX3" fmla="*/ 159258 w 3124200"/>
                <a:gd name="connsiteY3" fmla="*/ 1 h 238126"/>
                <a:gd name="connsiteX4" fmla="*/ 159448 w 3124200"/>
                <a:gd name="connsiteY4" fmla="*/ 2 h 238126"/>
                <a:gd name="connsiteX5" fmla="*/ 2964752 w 3124200"/>
                <a:gd name="connsiteY5" fmla="*/ 2 h 238126"/>
                <a:gd name="connsiteX6" fmla="*/ 3124200 w 3124200"/>
                <a:gd name="connsiteY6" fmla="*/ 157641 h 238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24200" h="238126">
                  <a:moveTo>
                    <a:pt x="3124200" y="238127"/>
                  </a:moveTo>
                  <a:lnTo>
                    <a:pt x="0" y="238127"/>
                  </a:lnTo>
                  <a:lnTo>
                    <a:pt x="0" y="158117"/>
                  </a:lnTo>
                  <a:cubicBezTo>
                    <a:pt x="314" y="70477"/>
                    <a:pt x="71619" y="-314"/>
                    <a:pt x="159258" y="1"/>
                  </a:cubicBezTo>
                  <a:cubicBezTo>
                    <a:pt x="159315" y="1"/>
                    <a:pt x="159382" y="2"/>
                    <a:pt x="159448" y="2"/>
                  </a:cubicBezTo>
                  <a:lnTo>
                    <a:pt x="2964752" y="2"/>
                  </a:lnTo>
                  <a:cubicBezTo>
                    <a:pt x="3052277" y="-420"/>
                    <a:pt x="3123619" y="70112"/>
                    <a:pt x="3124200" y="157641"/>
                  </a:cubicBezTo>
                  <a:close/>
                </a:path>
              </a:pathLst>
            </a:custGeom>
            <a:solidFill>
              <a:srgbClr val="F3A50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îṥḷiďê"/>
            <p:cNvSpPr/>
            <p:nvPr/>
          </p:nvSpPr>
          <p:spPr>
            <a:xfrm>
              <a:off x="3982013" y="2097153"/>
              <a:ext cx="131986" cy="131988"/>
            </a:xfrm>
            <a:custGeom>
              <a:avLst/>
              <a:gdLst>
                <a:gd name="connsiteX0" fmla="*/ 81534 w 81533"/>
                <a:gd name="connsiteY0" fmla="*/ 40767 h 81534"/>
                <a:gd name="connsiteX1" fmla="*/ 40767 w 81533"/>
                <a:gd name="connsiteY1" fmla="*/ 81534 h 81534"/>
                <a:gd name="connsiteX2" fmla="*/ 0 w 81533"/>
                <a:gd name="connsiteY2" fmla="*/ 40767 h 81534"/>
                <a:gd name="connsiteX3" fmla="*/ 40767 w 81533"/>
                <a:gd name="connsiteY3" fmla="*/ 0 h 81534"/>
                <a:gd name="connsiteX4" fmla="*/ 81534 w 81533"/>
                <a:gd name="connsiteY4" fmla="*/ 40767 h 81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533" h="81534">
                  <a:moveTo>
                    <a:pt x="81534" y="40767"/>
                  </a:moveTo>
                  <a:cubicBezTo>
                    <a:pt x="81534" y="63282"/>
                    <a:pt x="63282" y="81534"/>
                    <a:pt x="40767" y="81534"/>
                  </a:cubicBezTo>
                  <a:cubicBezTo>
                    <a:pt x="18252" y="81534"/>
                    <a:pt x="0" y="63282"/>
                    <a:pt x="0" y="40767"/>
                  </a:cubicBezTo>
                  <a:cubicBezTo>
                    <a:pt x="0" y="18252"/>
                    <a:pt x="18252" y="0"/>
                    <a:pt x="40767" y="0"/>
                  </a:cubicBezTo>
                  <a:cubicBezTo>
                    <a:pt x="63282" y="0"/>
                    <a:pt x="81534" y="18252"/>
                    <a:pt x="81534" y="40767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îṣlíḍê"/>
            <p:cNvSpPr/>
            <p:nvPr/>
          </p:nvSpPr>
          <p:spPr>
            <a:xfrm>
              <a:off x="4232727" y="2097153"/>
              <a:ext cx="131986" cy="131988"/>
            </a:xfrm>
            <a:custGeom>
              <a:avLst/>
              <a:gdLst>
                <a:gd name="connsiteX0" fmla="*/ 81534 w 81533"/>
                <a:gd name="connsiteY0" fmla="*/ 40767 h 81534"/>
                <a:gd name="connsiteX1" fmla="*/ 40767 w 81533"/>
                <a:gd name="connsiteY1" fmla="*/ 81534 h 81534"/>
                <a:gd name="connsiteX2" fmla="*/ 0 w 81533"/>
                <a:gd name="connsiteY2" fmla="*/ 40767 h 81534"/>
                <a:gd name="connsiteX3" fmla="*/ 40767 w 81533"/>
                <a:gd name="connsiteY3" fmla="*/ 0 h 81534"/>
                <a:gd name="connsiteX4" fmla="*/ 81534 w 81533"/>
                <a:gd name="connsiteY4" fmla="*/ 40767 h 81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533" h="81534">
                  <a:moveTo>
                    <a:pt x="81534" y="40767"/>
                  </a:moveTo>
                  <a:cubicBezTo>
                    <a:pt x="81534" y="63282"/>
                    <a:pt x="63282" y="81534"/>
                    <a:pt x="40767" y="81534"/>
                  </a:cubicBezTo>
                  <a:cubicBezTo>
                    <a:pt x="18252" y="81534"/>
                    <a:pt x="0" y="63282"/>
                    <a:pt x="0" y="40767"/>
                  </a:cubicBezTo>
                  <a:cubicBezTo>
                    <a:pt x="0" y="18252"/>
                    <a:pt x="18252" y="0"/>
                    <a:pt x="40767" y="0"/>
                  </a:cubicBezTo>
                  <a:cubicBezTo>
                    <a:pt x="63282" y="0"/>
                    <a:pt x="81534" y="18252"/>
                    <a:pt x="81534" y="40767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ísḷíḓè"/>
            <p:cNvSpPr/>
            <p:nvPr/>
          </p:nvSpPr>
          <p:spPr>
            <a:xfrm>
              <a:off x="4483289" y="2097153"/>
              <a:ext cx="131986" cy="131988"/>
            </a:xfrm>
            <a:custGeom>
              <a:avLst/>
              <a:gdLst>
                <a:gd name="connsiteX0" fmla="*/ 81534 w 81533"/>
                <a:gd name="connsiteY0" fmla="*/ 40767 h 81534"/>
                <a:gd name="connsiteX1" fmla="*/ 40767 w 81533"/>
                <a:gd name="connsiteY1" fmla="*/ 81534 h 81534"/>
                <a:gd name="connsiteX2" fmla="*/ 0 w 81533"/>
                <a:gd name="connsiteY2" fmla="*/ 40767 h 81534"/>
                <a:gd name="connsiteX3" fmla="*/ 40767 w 81533"/>
                <a:gd name="connsiteY3" fmla="*/ 0 h 81534"/>
                <a:gd name="connsiteX4" fmla="*/ 81534 w 81533"/>
                <a:gd name="connsiteY4" fmla="*/ 40767 h 81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533" h="81534">
                  <a:moveTo>
                    <a:pt x="81534" y="40767"/>
                  </a:moveTo>
                  <a:cubicBezTo>
                    <a:pt x="81534" y="63282"/>
                    <a:pt x="63282" y="81534"/>
                    <a:pt x="40767" y="81534"/>
                  </a:cubicBezTo>
                  <a:cubicBezTo>
                    <a:pt x="18252" y="81534"/>
                    <a:pt x="0" y="63282"/>
                    <a:pt x="0" y="40767"/>
                  </a:cubicBezTo>
                  <a:cubicBezTo>
                    <a:pt x="0" y="18252"/>
                    <a:pt x="18252" y="0"/>
                    <a:pt x="40767" y="0"/>
                  </a:cubicBezTo>
                  <a:cubicBezTo>
                    <a:pt x="63282" y="0"/>
                    <a:pt x="81534" y="18252"/>
                    <a:pt x="81534" y="40767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17" name="文本框 16"/>
          <p:cNvSpPr txBox="1"/>
          <p:nvPr/>
        </p:nvSpPr>
        <p:spPr>
          <a:xfrm>
            <a:off x="669923" y="915745"/>
            <a:ext cx="10850565" cy="628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3200" b="1" dirty="0">
                <a:latin typeface="+mj-lt"/>
                <a:ea typeface="+mj-ea"/>
              </a:rPr>
              <a:t>项目历程</a:t>
            </a:r>
            <a:endParaRPr lang="zh-CN" altLang="en-US" sz="3200" b="1" dirty="0">
              <a:latin typeface="+mj-lt"/>
              <a:ea typeface="+mj-ea"/>
            </a:endParaRPr>
          </a:p>
        </p:txBody>
      </p:sp>
      <p:cxnSp>
        <p:nvCxnSpPr>
          <p:cNvPr id="22" name="直接箭头连接符 21"/>
          <p:cNvCxnSpPr/>
          <p:nvPr/>
        </p:nvCxnSpPr>
        <p:spPr>
          <a:xfrm>
            <a:off x="815340" y="2803754"/>
            <a:ext cx="10538460" cy="9737"/>
          </a:xfrm>
          <a:prstGeom prst="straightConnector1">
            <a:avLst/>
          </a:prstGeom>
          <a:noFill/>
          <a:ln w="22225" cap="flat" cmpd="sng" algn="ctr">
            <a:solidFill>
              <a:srgbClr val="F0F0F0">
                <a:lumMod val="75000"/>
              </a:srgbClr>
            </a:solidFill>
            <a:prstDash val="sysDot"/>
            <a:miter lim="800000"/>
            <a:tailEnd type="arrow"/>
          </a:ln>
          <a:effectLst/>
        </p:spPr>
      </p:cxnSp>
      <p:sp>
        <p:nvSpPr>
          <p:cNvPr id="23" name="ïṣļïḓé"/>
          <p:cNvSpPr/>
          <p:nvPr/>
        </p:nvSpPr>
        <p:spPr>
          <a:xfrm>
            <a:off x="2238388" y="2736331"/>
            <a:ext cx="151075" cy="151075"/>
          </a:xfrm>
          <a:prstGeom prst="ellipse">
            <a:avLst/>
          </a:prstGeom>
          <a:solidFill>
            <a:srgbClr val="F3A50F"/>
          </a:solidFill>
          <a:ln w="57150" cap="rnd" cmpd="sng" algn="ctr">
            <a:noFill/>
            <a:prstDash val="solid"/>
            <a:round/>
          </a:ln>
          <a:effectLst>
            <a:outerShdw blurRad="76200" dist="50800" dir="5400000" algn="ctr" rotWithShape="0">
              <a:srgbClr val="FFCD04">
                <a:alpha val="20000"/>
              </a:srgb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24" name="ïŝḻïḋè"/>
          <p:cNvSpPr/>
          <p:nvPr/>
        </p:nvSpPr>
        <p:spPr>
          <a:xfrm>
            <a:off x="4647737" y="2736331"/>
            <a:ext cx="151075" cy="151075"/>
          </a:xfrm>
          <a:prstGeom prst="ellipse">
            <a:avLst/>
          </a:prstGeom>
          <a:solidFill>
            <a:srgbClr val="848EEC"/>
          </a:solidFill>
          <a:ln w="57150" cap="rnd" cmpd="sng" algn="ctr">
            <a:noFill/>
            <a:prstDash val="solid"/>
            <a:round/>
          </a:ln>
          <a:effectLst>
            <a:outerShdw blurRad="76200" dist="50800" dir="5400000" algn="ctr" rotWithShape="0">
              <a:srgbClr val="828282">
                <a:alpha val="20000"/>
              </a:srgb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25" name="ïşlïḋé"/>
          <p:cNvSpPr/>
          <p:nvPr/>
        </p:nvSpPr>
        <p:spPr>
          <a:xfrm>
            <a:off x="7057086" y="2736331"/>
            <a:ext cx="151075" cy="151075"/>
          </a:xfrm>
          <a:prstGeom prst="ellipse">
            <a:avLst/>
          </a:prstGeom>
          <a:solidFill>
            <a:srgbClr val="F3A50F"/>
          </a:solidFill>
          <a:ln w="57150" cap="rnd" cmpd="sng" algn="ctr">
            <a:noFill/>
            <a:prstDash val="solid"/>
            <a:round/>
          </a:ln>
          <a:effectLst>
            <a:outerShdw blurRad="76200" dist="50800" dir="5400000" algn="ctr" rotWithShape="0">
              <a:srgbClr val="1D98D4">
                <a:alpha val="20000"/>
              </a:srgb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26" name="文本框 25"/>
          <p:cNvSpPr txBox="1"/>
          <p:nvPr/>
        </p:nvSpPr>
        <p:spPr>
          <a:xfrm>
            <a:off x="4172373" y="2348865"/>
            <a:ext cx="1079142" cy="350865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zh-CN" sz="1400" dirty="0">
                <a:solidFill>
                  <a:srgbClr val="000000">
                    <a:lumMod val="75000"/>
                    <a:lumOff val="25000"/>
                  </a:srgbClr>
                </a:solidFill>
                <a:latin typeface="+mj-lt"/>
                <a:sym typeface="+mn-ea"/>
              </a:rPr>
              <a:t>2022/01/25</a:t>
            </a:r>
            <a:endParaRPr lang="en-US" altLang="zh-CN" sz="1400" dirty="0">
              <a:solidFill>
                <a:srgbClr val="000000">
                  <a:lumMod val="75000"/>
                  <a:lumOff val="25000"/>
                </a:srgbClr>
              </a:solidFill>
              <a:latin typeface="+mj-lt"/>
              <a:sym typeface="+mn-ea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6582590" y="2348865"/>
            <a:ext cx="1079142" cy="350865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zh-CN" sz="1400" dirty="0">
                <a:solidFill>
                  <a:srgbClr val="000000">
                    <a:lumMod val="75000"/>
                    <a:lumOff val="25000"/>
                  </a:srgbClr>
                </a:solidFill>
                <a:latin typeface="+mj-lt"/>
                <a:sym typeface="+mn-ea"/>
              </a:rPr>
              <a:t>2022/02/28</a:t>
            </a:r>
            <a:endParaRPr lang="en-US" altLang="zh-CN" sz="1400" dirty="0">
              <a:solidFill>
                <a:srgbClr val="000000">
                  <a:lumMod val="75000"/>
                  <a:lumOff val="25000"/>
                </a:srgbClr>
              </a:solidFill>
              <a:latin typeface="+mj-lt"/>
              <a:sym typeface="+mn-ea"/>
            </a:endParaRPr>
          </a:p>
        </p:txBody>
      </p:sp>
      <p:sp>
        <p:nvSpPr>
          <p:cNvPr id="28" name="ïŝḻïḋè"/>
          <p:cNvSpPr/>
          <p:nvPr/>
        </p:nvSpPr>
        <p:spPr>
          <a:xfrm>
            <a:off x="9466436" y="2736331"/>
            <a:ext cx="151075" cy="151075"/>
          </a:xfrm>
          <a:prstGeom prst="ellipse">
            <a:avLst/>
          </a:prstGeom>
          <a:solidFill>
            <a:srgbClr val="848EEC"/>
          </a:solidFill>
          <a:ln w="57150" cap="rnd" cmpd="sng" algn="ctr">
            <a:noFill/>
            <a:prstDash val="solid"/>
            <a:round/>
          </a:ln>
          <a:effectLst>
            <a:outerShdw blurRad="76200" dist="50800" dir="5400000" algn="ctr" rotWithShape="0">
              <a:srgbClr val="828282">
                <a:alpha val="20000"/>
              </a:srgb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8991145" y="2348865"/>
            <a:ext cx="1079142" cy="350865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zh-CN" sz="1400" dirty="0">
                <a:solidFill>
                  <a:srgbClr val="000000">
                    <a:lumMod val="75000"/>
                    <a:lumOff val="25000"/>
                  </a:srgbClr>
                </a:solidFill>
                <a:latin typeface="+mj-lt"/>
                <a:sym typeface="+mn-ea"/>
              </a:rPr>
              <a:t>2022/05/27</a:t>
            </a:r>
            <a:endParaRPr lang="en-US" altLang="zh-CN" sz="1400" dirty="0">
              <a:solidFill>
                <a:srgbClr val="000000">
                  <a:lumMod val="75000"/>
                  <a:lumOff val="25000"/>
                </a:srgbClr>
              </a:solidFill>
              <a:latin typeface="+mj-lt"/>
              <a:sym typeface="+mn-ea"/>
            </a:endParaRPr>
          </a:p>
        </p:txBody>
      </p:sp>
      <p:sp>
        <p:nvSpPr>
          <p:cNvPr id="30" name="文本框 29"/>
          <p:cNvSpPr txBox="1"/>
          <p:nvPr/>
        </p:nvSpPr>
        <p:spPr>
          <a:xfrm>
            <a:off x="1752214" y="2348865"/>
            <a:ext cx="1079142" cy="350865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zh-CN" sz="1400" dirty="0">
                <a:solidFill>
                  <a:srgbClr val="000000">
                    <a:lumMod val="75000"/>
                    <a:lumOff val="25000"/>
                  </a:srgbClr>
                </a:solidFill>
                <a:latin typeface="+mj-lt"/>
                <a:sym typeface="+mn-ea"/>
              </a:rPr>
              <a:t>2021/12/15</a:t>
            </a:r>
            <a:endParaRPr lang="en-US" altLang="zh-CN" sz="1400" dirty="0">
              <a:solidFill>
                <a:srgbClr val="000000">
                  <a:lumMod val="75000"/>
                  <a:lumOff val="25000"/>
                </a:srgbClr>
              </a:solidFill>
              <a:latin typeface="+mj-lt"/>
              <a:sym typeface="+mn-ea"/>
            </a:endParaRPr>
          </a:p>
        </p:txBody>
      </p:sp>
      <p:sp>
        <p:nvSpPr>
          <p:cNvPr id="44" name="矩形 43"/>
          <p:cNvSpPr/>
          <p:nvPr/>
        </p:nvSpPr>
        <p:spPr>
          <a:xfrm>
            <a:off x="1255347" y="3496064"/>
            <a:ext cx="2097454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913765">
              <a:defRPr/>
            </a:pPr>
            <a:r>
              <a:rPr lang="en-US" altLang="zh-CN" b="1" kern="0" dirty="0" err="1"/>
              <a:t>IvorySQL</a:t>
            </a:r>
            <a:r>
              <a:rPr lang="en-US" altLang="zh-CN" b="1" kern="0" dirty="0"/>
              <a:t> 1.0</a:t>
            </a:r>
            <a:endParaRPr lang="en-US" altLang="zh-CN" b="1" kern="0" dirty="0"/>
          </a:p>
          <a:p>
            <a:pPr lvl="0" algn="ctr" defTabSz="913765">
              <a:defRPr/>
            </a:pPr>
            <a:r>
              <a:rPr lang="zh-CN" altLang="en-US" sz="1600" kern="0" dirty="0">
                <a:ea typeface="等线" panose="02010600030101010101" charset="-122"/>
              </a:rPr>
              <a:t>（</a:t>
            </a:r>
            <a:r>
              <a:rPr lang="en-US" altLang="zh-CN" sz="1600" kern="0" dirty="0">
                <a:ea typeface="等线" panose="02010600030101010101" charset="-122"/>
              </a:rPr>
              <a:t>Postgresql14.0</a:t>
            </a:r>
            <a:r>
              <a:rPr lang="zh-CN" altLang="en-US" sz="1600" kern="0" dirty="0">
                <a:ea typeface="等线" panose="02010600030101010101" charset="-122"/>
              </a:rPr>
              <a:t>）</a:t>
            </a:r>
            <a:endParaRPr lang="zh-CN" altLang="en-US" sz="1600" kern="0" dirty="0">
              <a:ea typeface="等线" panose="02010600030101010101" charset="-122"/>
            </a:endParaRPr>
          </a:p>
        </p:txBody>
      </p:sp>
      <p:sp>
        <p:nvSpPr>
          <p:cNvPr id="69" name="矩形 68"/>
          <p:cNvSpPr/>
          <p:nvPr/>
        </p:nvSpPr>
        <p:spPr>
          <a:xfrm>
            <a:off x="3649784" y="3496064"/>
            <a:ext cx="2110154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913765">
              <a:defRPr/>
            </a:pPr>
            <a:r>
              <a:rPr lang="en-US" altLang="zh-CN" b="1" kern="0" dirty="0" err="1"/>
              <a:t>IvorySQL</a:t>
            </a:r>
            <a:r>
              <a:rPr lang="en-US" altLang="zh-CN" b="1" kern="0" dirty="0"/>
              <a:t> 1.1</a:t>
            </a:r>
            <a:endParaRPr lang="en-US" altLang="zh-CN" b="1" kern="0" dirty="0"/>
          </a:p>
          <a:p>
            <a:pPr lvl="0" algn="ctr" defTabSz="913765">
              <a:defRPr/>
            </a:pPr>
            <a:r>
              <a:rPr lang="zh-CN" altLang="en-US" sz="1600" kern="0" dirty="0">
                <a:ea typeface="等线" panose="02010600030101010101" charset="-122"/>
              </a:rPr>
              <a:t>（</a:t>
            </a:r>
            <a:r>
              <a:rPr lang="en-US" altLang="zh-CN" sz="1600" kern="0" dirty="0">
                <a:ea typeface="等线" panose="02010600030101010101" charset="-122"/>
              </a:rPr>
              <a:t>Postgresql14.1</a:t>
            </a:r>
            <a:r>
              <a:rPr lang="zh-CN" altLang="en-US" sz="1600" kern="0" dirty="0">
                <a:ea typeface="等线" panose="02010600030101010101" charset="-122"/>
              </a:rPr>
              <a:t>）</a:t>
            </a:r>
            <a:endParaRPr lang="zh-CN" altLang="en-US" sz="1600" kern="0" dirty="0">
              <a:ea typeface="等线" panose="02010600030101010101" charset="-122"/>
            </a:endParaRPr>
          </a:p>
        </p:txBody>
      </p:sp>
      <p:sp>
        <p:nvSpPr>
          <p:cNvPr id="70" name="矩形 69"/>
          <p:cNvSpPr/>
          <p:nvPr/>
        </p:nvSpPr>
        <p:spPr>
          <a:xfrm>
            <a:off x="6149926" y="3496064"/>
            <a:ext cx="1943100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913765">
              <a:defRPr/>
            </a:pPr>
            <a:r>
              <a:rPr lang="en-US" altLang="zh-CN" b="1" kern="0" dirty="0" err="1"/>
              <a:t>IvorySQL</a:t>
            </a:r>
            <a:r>
              <a:rPr lang="en-US" altLang="zh-CN" b="1" kern="0" dirty="0"/>
              <a:t> 1.2</a:t>
            </a:r>
            <a:endParaRPr lang="en-US" altLang="zh-CN" b="1" kern="0" dirty="0"/>
          </a:p>
          <a:p>
            <a:pPr lvl="0" algn="ctr" defTabSz="913765">
              <a:defRPr/>
            </a:pPr>
            <a:r>
              <a:rPr lang="zh-CN" altLang="en-US" sz="1600" kern="0" dirty="0">
                <a:ea typeface="等线" panose="02010600030101010101" charset="-122"/>
              </a:rPr>
              <a:t>（</a:t>
            </a:r>
            <a:r>
              <a:rPr lang="en-US" altLang="zh-CN" sz="1600" kern="0" dirty="0">
                <a:ea typeface="等线" panose="02010600030101010101" charset="-122"/>
              </a:rPr>
              <a:t>Postgresql14.2</a:t>
            </a:r>
            <a:r>
              <a:rPr lang="zh-CN" altLang="en-US" sz="1600" kern="0" dirty="0">
                <a:ea typeface="等线" panose="02010600030101010101" charset="-122"/>
              </a:rPr>
              <a:t>）</a:t>
            </a:r>
            <a:endParaRPr lang="zh-CN" altLang="en-US" sz="1600" kern="0" dirty="0">
              <a:ea typeface="等线" panose="02010600030101010101" charset="-122"/>
            </a:endParaRPr>
          </a:p>
        </p:txBody>
      </p:sp>
      <p:sp>
        <p:nvSpPr>
          <p:cNvPr id="71" name="矩形 70"/>
          <p:cNvSpPr/>
          <p:nvPr/>
        </p:nvSpPr>
        <p:spPr>
          <a:xfrm>
            <a:off x="8603566" y="3496064"/>
            <a:ext cx="1889760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913765">
              <a:defRPr/>
            </a:pPr>
            <a:r>
              <a:rPr lang="en-US" altLang="zh-CN" b="1" kern="0" dirty="0" err="1"/>
              <a:t>IvorySQL</a:t>
            </a:r>
            <a:r>
              <a:rPr lang="en-US" altLang="zh-CN" b="1" kern="0" dirty="0"/>
              <a:t> 1.3</a:t>
            </a:r>
            <a:endParaRPr lang="en-US" altLang="zh-CN" b="1" kern="0" dirty="0"/>
          </a:p>
          <a:p>
            <a:pPr lvl="0" algn="ctr" defTabSz="913765">
              <a:defRPr/>
            </a:pPr>
            <a:r>
              <a:rPr lang="zh-CN" altLang="en-US" sz="1600" kern="0" dirty="0">
                <a:ea typeface="等线" panose="02010600030101010101" charset="-122"/>
              </a:rPr>
              <a:t>（</a:t>
            </a:r>
            <a:r>
              <a:rPr lang="en-US" altLang="zh-CN" sz="1600" kern="0" dirty="0">
                <a:ea typeface="等线" panose="02010600030101010101" charset="-122"/>
              </a:rPr>
              <a:t>Postgresql14.3</a:t>
            </a:r>
            <a:r>
              <a:rPr lang="zh-CN" altLang="en-US" sz="1600" kern="0" dirty="0">
                <a:ea typeface="等线" panose="02010600030101010101" charset="-122"/>
              </a:rPr>
              <a:t>）</a:t>
            </a:r>
            <a:endParaRPr lang="zh-CN" altLang="en-US" sz="1600" kern="0" dirty="0">
              <a:ea typeface="等线" panose="02010600030101010101" charset="-122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本框 16"/>
          <p:cNvSpPr txBox="1"/>
          <p:nvPr/>
        </p:nvSpPr>
        <p:spPr>
          <a:xfrm>
            <a:off x="669923" y="915745"/>
            <a:ext cx="10850565" cy="628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3200" b="1" dirty="0">
                <a:latin typeface="+mj-lt"/>
                <a:ea typeface="+mj-ea"/>
              </a:rPr>
              <a:t>团队组成</a:t>
            </a:r>
            <a:endParaRPr lang="zh-CN" altLang="en-US" sz="3200" b="1" dirty="0">
              <a:latin typeface="+mj-lt"/>
              <a:ea typeface="+mj-ea"/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746626" y="2200680"/>
            <a:ext cx="4363638" cy="17532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IvorySQL开发团队由拥有</a:t>
            </a:r>
            <a:r>
              <a:rPr lang="zh-CN" altLang="en-US" b="1" dirty="0"/>
              <a:t>数十年PostgreSQL开发经验</a:t>
            </a:r>
            <a:r>
              <a:rPr lang="zh-CN" altLang="en-US" dirty="0"/>
              <a:t>的专家领衔</a:t>
            </a:r>
            <a:endParaRPr lang="zh-CN" altLang="en-US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zh-CN" altLang="en-US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成员大多数来自</a:t>
            </a:r>
            <a:r>
              <a:rPr lang="zh-CN" altLang="en-US" b="1" dirty="0"/>
              <a:t>瀚高</a:t>
            </a:r>
            <a:r>
              <a:rPr lang="zh-CN" altLang="en-US" b="1" dirty="0"/>
              <a:t>股份内核研发团队</a:t>
            </a:r>
            <a:endParaRPr lang="zh-CN" altLang="en-US" b="1" dirty="0">
              <a:solidFill>
                <a:srgbClr val="FF0000"/>
              </a:solidFill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483320" y="2114531"/>
            <a:ext cx="6246790" cy="2711058"/>
          </a:xfrm>
          <a:prstGeom prst="rect">
            <a:avLst/>
          </a:prstGeom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本框 16"/>
          <p:cNvSpPr txBox="1"/>
          <p:nvPr/>
        </p:nvSpPr>
        <p:spPr>
          <a:xfrm>
            <a:off x="669923" y="915745"/>
            <a:ext cx="10850565" cy="628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3200" b="1" dirty="0">
                <a:latin typeface="+mj-lt"/>
                <a:ea typeface="+mj-ea"/>
              </a:rPr>
              <a:t>源码仓库</a:t>
            </a:r>
            <a:endParaRPr lang="zh-CN" altLang="en-US" sz="3200" b="1" dirty="0">
              <a:latin typeface="+mj-lt"/>
              <a:ea typeface="+mj-ea"/>
            </a:endParaRPr>
          </a:p>
        </p:txBody>
      </p:sp>
      <p:sp>
        <p:nvSpPr>
          <p:cNvPr id="4" name="Google Shape;138;g1057c05bba8_0_55"/>
          <p:cNvSpPr txBox="1"/>
          <p:nvPr/>
        </p:nvSpPr>
        <p:spPr>
          <a:xfrm>
            <a:off x="624205" y="2056130"/>
            <a:ext cx="4366895" cy="2447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4445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 panose="020B0604020202020204" pitchFamily="34" charset="0"/>
              <a:buChar char="•"/>
            </a:pPr>
            <a:r>
              <a:rPr lang="en-US" sz="1600" b="1" dirty="0" err="1">
                <a:solidFill>
                  <a:schemeClr val="dk1"/>
                </a:solidFill>
              </a:rPr>
              <a:t>GitHub</a:t>
            </a:r>
            <a:br>
              <a:rPr lang="en-US" sz="1600" dirty="0">
                <a:solidFill>
                  <a:schemeClr val="dk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https://github.com/IvorySQL/IvorySQL 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CA" altLang="zh-CN" sz="1600" dirty="0">
                <a:solidFill>
                  <a:schemeClr val="tx1"/>
                </a:solidFill>
              </a:rPr>
              <a:t>https://github.com/IvorySQL/Ivory-www</a:t>
            </a:r>
            <a:br>
              <a:rPr lang="en-CA" altLang="zh-CN" sz="1600" dirty="0">
                <a:solidFill>
                  <a:schemeClr val="tx1"/>
                </a:solidFill>
              </a:rPr>
            </a:br>
            <a:r>
              <a:rPr lang="en-CA" altLang="zh-CN" sz="1600" dirty="0">
                <a:solidFill>
                  <a:schemeClr val="tx1"/>
                </a:solidFill>
              </a:rPr>
              <a:t> </a:t>
            </a:r>
            <a:endParaRPr sz="1600" dirty="0">
              <a:solidFill>
                <a:schemeClr val="tx1"/>
              </a:solidFill>
            </a:endParaRPr>
          </a:p>
          <a:p>
            <a:pPr marL="4445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 panose="020B0604020202020204" pitchFamily="34" charset="0"/>
              <a:buChar char="•"/>
            </a:pPr>
            <a:r>
              <a:rPr lang="en-US" sz="1600" b="1" dirty="0" err="1">
                <a:solidFill>
                  <a:schemeClr val="dk1"/>
                </a:solidFill>
              </a:rPr>
              <a:t>Gitee</a:t>
            </a:r>
            <a:br>
              <a:rPr lang="en-US" sz="1600" dirty="0">
                <a:solidFill>
                  <a:schemeClr val="dk1"/>
                </a:solidFill>
              </a:rPr>
            </a:br>
            <a:r>
              <a:rPr lang="en-CA" altLang="zh-CN" sz="1600" dirty="0">
                <a:solidFill>
                  <a:schemeClr val="dk1"/>
                </a:solidFill>
              </a:rPr>
              <a:t>https://gitee.com/IvorySQL/IvorySQL</a:t>
            </a:r>
            <a:br>
              <a:rPr lang="en-CA" altLang="zh-CN" sz="1600" dirty="0">
                <a:solidFill>
                  <a:schemeClr val="dk1"/>
                </a:solidFill>
              </a:rPr>
            </a:br>
            <a:r>
              <a:rPr lang="en-CA" altLang="zh-CN" sz="1600" dirty="0">
                <a:solidFill>
                  <a:schemeClr val="dk1"/>
                </a:solidFill>
              </a:rPr>
              <a:t>https://gitee.com/IvorySQL/Ivory-www</a:t>
            </a:r>
            <a:endParaRPr lang="en-CA" altLang="zh-CN" sz="1600" dirty="0">
              <a:solidFill>
                <a:schemeClr val="dk1"/>
              </a:solidFill>
            </a:endParaRPr>
          </a:p>
          <a:p>
            <a:pPr marL="4445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 panose="020B0604020202020204" pitchFamily="34" charset="0"/>
              <a:buChar char="•"/>
            </a:pPr>
            <a:endParaRPr sz="1600" dirty="0">
              <a:solidFill>
                <a:schemeClr val="dk1"/>
              </a:solidFill>
            </a:endParaRPr>
          </a:p>
          <a:p>
            <a:pPr marL="10160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 panose="020B0604020202020204" pitchFamily="34" charset="0"/>
              <a:buNone/>
            </a:pPr>
            <a:endParaRPr dirty="0">
              <a:solidFill>
                <a:schemeClr val="dk1"/>
              </a:solidFill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194935" y="1745615"/>
            <a:ext cx="6635115" cy="3326765"/>
          </a:xfrm>
          <a:prstGeom prst="rect">
            <a:avLst/>
          </a:prstGeom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本框 16"/>
          <p:cNvSpPr txBox="1"/>
          <p:nvPr/>
        </p:nvSpPr>
        <p:spPr>
          <a:xfrm>
            <a:off x="669923" y="915745"/>
            <a:ext cx="10850565" cy="628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3200" b="1" dirty="0">
                <a:latin typeface="+mj-lt"/>
                <a:ea typeface="+mj-ea"/>
              </a:rPr>
              <a:t>官方网站</a:t>
            </a:r>
            <a:endParaRPr lang="zh-CN" altLang="en-US" sz="3200" b="1" dirty="0">
              <a:latin typeface="+mj-lt"/>
              <a:ea typeface="+mj-ea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613410" y="1667510"/>
            <a:ext cx="2998470" cy="4247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 panose="020B0604020202020204" pitchFamily="34" charset="0"/>
              <a:buNone/>
            </a:pPr>
            <a:r>
              <a:rPr dirty="0">
                <a:solidFill>
                  <a:schemeClr val="dk1"/>
                </a:solidFill>
                <a:sym typeface="+mn-ea"/>
              </a:rPr>
              <a:t>https://www.ivorysql.org/</a:t>
            </a:r>
            <a:endParaRPr lang="zh-CN" altLang="en-US" dirty="0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 rotWithShape="1">
          <a:blip r:embed="rId1"/>
          <a:srcRect b="3077"/>
          <a:stretch>
            <a:fillRect/>
          </a:stretch>
        </p:blipFill>
        <p:spPr>
          <a:xfrm>
            <a:off x="3917718" y="1012705"/>
            <a:ext cx="6155921" cy="5032420"/>
          </a:xfrm>
          <a:prstGeom prst="rect">
            <a:avLst/>
          </a:prstGeom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78528" y="856952"/>
            <a:ext cx="5370195" cy="4880610"/>
          </a:xfrm>
          <a:prstGeom prst="rect">
            <a:avLst/>
          </a:prstGeom>
        </p:spPr>
      </p:pic>
      <p:grpSp>
        <p:nvGrpSpPr>
          <p:cNvPr id="10" name="组合 9"/>
          <p:cNvGrpSpPr/>
          <p:nvPr/>
        </p:nvGrpSpPr>
        <p:grpSpPr>
          <a:xfrm>
            <a:off x="6675675" y="876408"/>
            <a:ext cx="4147967" cy="5086648"/>
            <a:chOff x="6675675" y="876408"/>
            <a:chExt cx="4147967" cy="5086648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 rotWithShape="1">
            <a:blip r:embed="rId2"/>
            <a:srcRect b="830"/>
            <a:stretch>
              <a:fillRect/>
            </a:stretch>
          </p:blipFill>
          <p:spPr>
            <a:xfrm>
              <a:off x="6675675" y="876408"/>
              <a:ext cx="4147967" cy="5086648"/>
            </a:xfrm>
            <a:prstGeom prst="rect">
              <a:avLst/>
            </a:prstGeom>
          </p:spPr>
        </p:pic>
        <p:cxnSp>
          <p:nvCxnSpPr>
            <p:cNvPr id="3" name="直接连接符 2"/>
            <p:cNvCxnSpPr/>
            <p:nvPr/>
          </p:nvCxnSpPr>
          <p:spPr>
            <a:xfrm>
              <a:off x="6726731" y="5958408"/>
              <a:ext cx="1205689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3" name="直接连接符 12"/>
          <p:cNvCxnSpPr/>
          <p:nvPr/>
        </p:nvCxnSpPr>
        <p:spPr>
          <a:xfrm>
            <a:off x="8126271" y="5958408"/>
            <a:ext cx="120568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/>
          <p:cNvCxnSpPr/>
          <p:nvPr/>
        </p:nvCxnSpPr>
        <p:spPr>
          <a:xfrm>
            <a:off x="9523271" y="5963488"/>
            <a:ext cx="120568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本框 16"/>
          <p:cNvSpPr txBox="1"/>
          <p:nvPr/>
        </p:nvSpPr>
        <p:spPr>
          <a:xfrm>
            <a:off x="669923" y="915745"/>
            <a:ext cx="10850565" cy="628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3200" b="1" dirty="0" err="1">
                <a:latin typeface="+mj-lt"/>
                <a:ea typeface="+mj-ea"/>
              </a:rPr>
              <a:t>IvorySQL</a:t>
            </a:r>
            <a:r>
              <a:rPr lang="en-US" altLang="zh-CN" sz="3200" b="1" dirty="0">
                <a:latin typeface="+mj-lt"/>
                <a:ea typeface="+mj-ea"/>
              </a:rPr>
              <a:t> V1.3</a:t>
            </a:r>
            <a:endParaRPr lang="zh-CN" altLang="en-US" sz="3200" b="1" dirty="0">
              <a:latin typeface="+mj-lt"/>
              <a:ea typeface="+mj-ea"/>
            </a:endParaRPr>
          </a:p>
        </p:txBody>
      </p:sp>
      <p:sp>
        <p:nvSpPr>
          <p:cNvPr id="7" name="Google Shape;130;g1057c05bba8_1_20"/>
          <p:cNvSpPr txBox="1"/>
          <p:nvPr/>
        </p:nvSpPr>
        <p:spPr>
          <a:xfrm>
            <a:off x="625998" y="1775534"/>
            <a:ext cx="5299224" cy="39210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3873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dk1"/>
                </a:solidFill>
              </a:rPr>
              <a:t>基于</a:t>
            </a:r>
            <a:r>
              <a:rPr lang="en-US" b="1" dirty="0">
                <a:solidFill>
                  <a:schemeClr val="dk1"/>
                </a:solidFill>
              </a:rPr>
              <a:t>PostgreSQL 14.3</a:t>
            </a:r>
            <a:endParaRPr b="1" dirty="0">
              <a:solidFill>
                <a:schemeClr val="dk1"/>
              </a:solidFill>
            </a:endParaRPr>
          </a:p>
          <a:p>
            <a:pPr marL="3873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dk1"/>
                </a:solidFill>
              </a:rPr>
              <a:t>IvorySQL</a:t>
            </a:r>
            <a:r>
              <a:rPr lang="zh-CN" altLang="en-US" dirty="0">
                <a:solidFill>
                  <a:schemeClr val="dk1"/>
                </a:solidFill>
              </a:rPr>
              <a:t>包括如下</a:t>
            </a:r>
            <a:r>
              <a:rPr lang="zh-CN" altLang="en-US" b="1" dirty="0">
                <a:solidFill>
                  <a:schemeClr val="dk1"/>
                </a:solidFill>
              </a:rPr>
              <a:t>特性</a:t>
            </a:r>
            <a:r>
              <a:rPr lang="zh-CN" altLang="en-US" dirty="0">
                <a:solidFill>
                  <a:schemeClr val="dk1"/>
                </a:solidFill>
              </a:rPr>
              <a:t>：</a:t>
            </a:r>
            <a:endParaRPr dirty="0">
              <a:solidFill>
                <a:schemeClr val="dk1"/>
              </a:solidFill>
            </a:endParaRPr>
          </a:p>
          <a:p>
            <a:pPr marL="914400" marR="0" lvl="1" indent="-3556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Char char="○"/>
            </a:pPr>
            <a:r>
              <a:rPr lang="en-US" sz="1600" dirty="0">
                <a:solidFill>
                  <a:schemeClr val="dk1"/>
                </a:solidFill>
              </a:rPr>
              <a:t>Oracle</a:t>
            </a:r>
            <a:r>
              <a:rPr lang="zh-CN" altLang="en-US" sz="1600" dirty="0">
                <a:solidFill>
                  <a:schemeClr val="dk1"/>
                </a:solidFill>
              </a:rPr>
              <a:t>兼容</a:t>
            </a:r>
            <a:r>
              <a:rPr lang="en-US" altLang="zh-CN" sz="1600" dirty="0">
                <a:solidFill>
                  <a:schemeClr val="dk1"/>
                </a:solidFill>
              </a:rPr>
              <a:t>-</a:t>
            </a:r>
            <a:r>
              <a:rPr lang="zh-CN" altLang="en-US" sz="1600" dirty="0">
                <a:solidFill>
                  <a:schemeClr val="dk1"/>
                </a:solidFill>
              </a:rPr>
              <a:t>包和函数</a:t>
            </a:r>
            <a:endParaRPr sz="1600" dirty="0">
              <a:solidFill>
                <a:schemeClr val="dk1"/>
              </a:solidFill>
            </a:endParaRPr>
          </a:p>
          <a:p>
            <a:pPr marL="914400" marR="0" lvl="1" indent="-3556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Char char="○"/>
            </a:pPr>
            <a:r>
              <a:rPr lang="en-US" sz="1600" dirty="0">
                <a:solidFill>
                  <a:schemeClr val="dk1"/>
                </a:solidFill>
              </a:rPr>
              <a:t>Oracle</a:t>
            </a:r>
            <a:r>
              <a:rPr lang="zh-CN" altLang="en-US" sz="1600" dirty="0">
                <a:solidFill>
                  <a:schemeClr val="dk1"/>
                </a:solidFill>
              </a:rPr>
              <a:t>兼容</a:t>
            </a:r>
            <a:r>
              <a:rPr lang="en-US" altLang="zh-CN" sz="1600" dirty="0">
                <a:solidFill>
                  <a:schemeClr val="dk1"/>
                </a:solidFill>
              </a:rPr>
              <a:t>-</a:t>
            </a:r>
            <a:r>
              <a:rPr lang="en-US" sz="1600" dirty="0">
                <a:solidFill>
                  <a:schemeClr val="dk1"/>
                </a:solidFill>
              </a:rPr>
              <a:t>PL/</a:t>
            </a:r>
            <a:r>
              <a:rPr lang="en-US" sz="1600" dirty="0" err="1">
                <a:solidFill>
                  <a:schemeClr val="dk1"/>
                </a:solidFill>
              </a:rPr>
              <a:t>iSQL</a:t>
            </a:r>
            <a:r>
              <a:rPr lang="zh-CN" altLang="en-US" sz="1600" dirty="0">
                <a:solidFill>
                  <a:schemeClr val="dk1"/>
                </a:solidFill>
              </a:rPr>
              <a:t>过程语言</a:t>
            </a:r>
            <a:endParaRPr sz="1600" dirty="0">
              <a:solidFill>
                <a:schemeClr val="dk1"/>
              </a:solidFill>
            </a:endParaRPr>
          </a:p>
          <a:p>
            <a:pPr marL="914400" marR="0" lvl="1" indent="-3556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Char char="○"/>
            </a:pPr>
            <a:r>
              <a:rPr lang="zh-CN" altLang="en-US" sz="1600" dirty="0">
                <a:solidFill>
                  <a:schemeClr val="dk1"/>
                </a:solidFill>
              </a:rPr>
              <a:t>通过</a:t>
            </a:r>
            <a:r>
              <a:rPr lang="en-US" altLang="zh-CN" sz="1600" dirty="0">
                <a:solidFill>
                  <a:schemeClr val="dk1"/>
                </a:solidFill>
              </a:rPr>
              <a:t>GUC</a:t>
            </a:r>
            <a:r>
              <a:rPr lang="zh-CN" altLang="en-US" sz="1600" dirty="0">
                <a:solidFill>
                  <a:schemeClr val="dk1"/>
                </a:solidFill>
              </a:rPr>
              <a:t>参数切换</a:t>
            </a:r>
            <a:r>
              <a:rPr lang="en-US" sz="1600" dirty="0">
                <a:solidFill>
                  <a:schemeClr val="dk1"/>
                </a:solidFill>
              </a:rPr>
              <a:t>Oracle</a:t>
            </a:r>
            <a:r>
              <a:rPr lang="zh-CN" altLang="en-US" sz="1600" dirty="0">
                <a:solidFill>
                  <a:schemeClr val="dk1"/>
                </a:solidFill>
              </a:rPr>
              <a:t>和</a:t>
            </a:r>
            <a:r>
              <a:rPr lang="en-US" sz="1600" dirty="0">
                <a:solidFill>
                  <a:schemeClr val="dk1"/>
                </a:solidFill>
              </a:rPr>
              <a:t>PostgreSQL</a:t>
            </a:r>
            <a:r>
              <a:rPr lang="zh-CN" altLang="en-US" sz="1600" dirty="0">
                <a:solidFill>
                  <a:schemeClr val="dk1"/>
                </a:solidFill>
              </a:rPr>
              <a:t>模式</a:t>
            </a:r>
            <a:endParaRPr sz="1600" dirty="0">
              <a:solidFill>
                <a:schemeClr val="dk1"/>
              </a:solidFill>
            </a:endParaRPr>
          </a:p>
          <a:p>
            <a:pPr marL="914400" marR="0" lvl="1" indent="-3556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Char char="○"/>
            </a:pPr>
            <a:r>
              <a:rPr lang="en-US" sz="1600" dirty="0">
                <a:solidFill>
                  <a:schemeClr val="dk1"/>
                </a:solidFill>
              </a:rPr>
              <a:t>Oracle</a:t>
            </a:r>
            <a:r>
              <a:rPr lang="zh-CN" altLang="en-US" sz="1600" dirty="0">
                <a:solidFill>
                  <a:schemeClr val="dk1"/>
                </a:solidFill>
              </a:rPr>
              <a:t>兼容</a:t>
            </a:r>
            <a:r>
              <a:rPr lang="en-US" altLang="zh-CN" sz="1600" dirty="0">
                <a:solidFill>
                  <a:schemeClr val="dk1"/>
                </a:solidFill>
              </a:rPr>
              <a:t>-</a:t>
            </a:r>
            <a:r>
              <a:rPr lang="zh-CN" altLang="en-US" sz="1600" dirty="0">
                <a:solidFill>
                  <a:schemeClr val="dk1"/>
                </a:solidFill>
              </a:rPr>
              <a:t>多种</a:t>
            </a:r>
            <a:r>
              <a:rPr lang="en-US" altLang="zh-CN" sz="1600" dirty="0">
                <a:solidFill>
                  <a:schemeClr val="dk1"/>
                </a:solidFill>
              </a:rPr>
              <a:t>DDL</a:t>
            </a:r>
            <a:r>
              <a:rPr lang="zh-CN" altLang="en-US" sz="1600" dirty="0">
                <a:solidFill>
                  <a:schemeClr val="dk1"/>
                </a:solidFill>
              </a:rPr>
              <a:t>和</a:t>
            </a:r>
            <a:r>
              <a:rPr lang="en-US" altLang="zh-CN" sz="1600" dirty="0">
                <a:solidFill>
                  <a:schemeClr val="dk1"/>
                </a:solidFill>
              </a:rPr>
              <a:t>DML</a:t>
            </a:r>
            <a:r>
              <a:rPr lang="zh-CN" altLang="en-US" sz="1600" dirty="0">
                <a:solidFill>
                  <a:schemeClr val="dk1"/>
                </a:solidFill>
              </a:rPr>
              <a:t>语法</a:t>
            </a:r>
            <a:endParaRPr sz="1600" dirty="0">
              <a:solidFill>
                <a:schemeClr val="dk1"/>
              </a:solidFill>
            </a:endParaRPr>
          </a:p>
          <a:p>
            <a:pPr marL="914400" marR="0" lvl="1" indent="-3556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Char char="○"/>
            </a:pPr>
            <a:r>
              <a:rPr lang="en-US" sz="1600" dirty="0">
                <a:solidFill>
                  <a:schemeClr val="dk1"/>
                </a:solidFill>
              </a:rPr>
              <a:t>Oracle</a:t>
            </a:r>
            <a:r>
              <a:rPr lang="zh-CN" altLang="en-US" sz="1600" dirty="0">
                <a:solidFill>
                  <a:schemeClr val="dk1"/>
                </a:solidFill>
              </a:rPr>
              <a:t>兼容</a:t>
            </a:r>
            <a:r>
              <a:rPr lang="en-US" altLang="zh-CN" sz="1600" dirty="0">
                <a:solidFill>
                  <a:schemeClr val="dk1"/>
                </a:solidFill>
              </a:rPr>
              <a:t>-</a:t>
            </a:r>
            <a:r>
              <a:rPr lang="zh-CN" altLang="en-US" sz="1600" dirty="0">
                <a:solidFill>
                  <a:schemeClr val="dk1"/>
                </a:solidFill>
              </a:rPr>
              <a:t>日期</a:t>
            </a:r>
            <a:r>
              <a:rPr lang="en-US" altLang="zh-CN" sz="1600" dirty="0">
                <a:solidFill>
                  <a:schemeClr val="dk1"/>
                </a:solidFill>
              </a:rPr>
              <a:t>/</a:t>
            </a:r>
            <a:r>
              <a:rPr lang="zh-CN" altLang="en-US" sz="1600" dirty="0">
                <a:solidFill>
                  <a:schemeClr val="dk1"/>
                </a:solidFill>
              </a:rPr>
              <a:t>时间函数</a:t>
            </a:r>
            <a:endParaRPr sz="1600" dirty="0">
              <a:solidFill>
                <a:schemeClr val="dk1"/>
              </a:solidFill>
            </a:endParaRPr>
          </a:p>
          <a:p>
            <a:pPr marL="914400" marR="0" lvl="1" indent="-3556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Char char="○"/>
            </a:pPr>
            <a:r>
              <a:rPr lang="zh-CN" altLang="en-US" sz="1600" dirty="0">
                <a:solidFill>
                  <a:schemeClr val="dk1"/>
                </a:solidFill>
              </a:rPr>
              <a:t>支持层次查询</a:t>
            </a:r>
            <a:endParaRPr lang="zh-CN" altLang="en-US" sz="1600" dirty="0">
              <a:solidFill>
                <a:schemeClr val="dk1"/>
              </a:solidFill>
            </a:endParaRPr>
          </a:p>
          <a:p>
            <a:pPr marL="914400" marR="0" lvl="1" indent="-3556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Char char="○"/>
            </a:pPr>
            <a:r>
              <a:rPr lang="zh-CN" altLang="en-US" sz="1600" dirty="0">
                <a:solidFill>
                  <a:schemeClr val="dk1"/>
                </a:solidFill>
              </a:rPr>
              <a:t>支持匿名块</a:t>
            </a:r>
            <a:endParaRPr lang="zh-CN" altLang="en-US" sz="1600" dirty="0">
              <a:solidFill>
                <a:schemeClr val="dk1"/>
              </a:solidFill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7345680" y="2465864"/>
            <a:ext cx="4187020" cy="2821410"/>
            <a:chOff x="6826936" y="2258646"/>
            <a:chExt cx="4376014" cy="2948763"/>
          </a:xfrm>
        </p:grpSpPr>
        <p:grpSp>
          <p:nvGrpSpPr>
            <p:cNvPr id="362" name="组合 361"/>
            <p:cNvGrpSpPr/>
            <p:nvPr/>
          </p:nvGrpSpPr>
          <p:grpSpPr>
            <a:xfrm>
              <a:off x="6826936" y="2258646"/>
              <a:ext cx="4376014" cy="2948763"/>
              <a:chOff x="3590320" y="1882022"/>
              <a:chExt cx="5139522" cy="3463251"/>
            </a:xfrm>
          </p:grpSpPr>
          <p:grpSp>
            <p:nvGrpSpPr>
              <p:cNvPr id="441" name="组合 440"/>
              <p:cNvGrpSpPr/>
              <p:nvPr/>
            </p:nvGrpSpPr>
            <p:grpSpPr>
              <a:xfrm>
                <a:off x="3758595" y="1882022"/>
                <a:ext cx="2510149" cy="1675371"/>
                <a:chOff x="3375278" y="3672267"/>
                <a:chExt cx="1233297" cy="823150"/>
              </a:xfrm>
            </p:grpSpPr>
            <p:sp>
              <p:nvSpPr>
                <p:cNvPr id="451" name="任意多边形 450"/>
                <p:cNvSpPr/>
                <p:nvPr/>
              </p:nvSpPr>
              <p:spPr>
                <a:xfrm>
                  <a:off x="3418045" y="3672267"/>
                  <a:ext cx="1156525" cy="823150"/>
                </a:xfrm>
                <a:custGeom>
                  <a:avLst/>
                  <a:gdLst>
                    <a:gd name="connsiteX0" fmla="*/ 1133951 w 1156525"/>
                    <a:gd name="connsiteY0" fmla="*/ 823151 h 823150"/>
                    <a:gd name="connsiteX1" fmla="*/ 22479 w 1156525"/>
                    <a:gd name="connsiteY1" fmla="*/ 823151 h 823150"/>
                    <a:gd name="connsiteX2" fmla="*/ 0 w 1156525"/>
                    <a:gd name="connsiteY2" fmla="*/ 800672 h 823150"/>
                    <a:gd name="connsiteX3" fmla="*/ 0 w 1156525"/>
                    <a:gd name="connsiteY3" fmla="*/ 22479 h 823150"/>
                    <a:gd name="connsiteX4" fmla="*/ 22479 w 1156525"/>
                    <a:gd name="connsiteY4" fmla="*/ 0 h 823150"/>
                    <a:gd name="connsiteX5" fmla="*/ 1134047 w 1156525"/>
                    <a:gd name="connsiteY5" fmla="*/ 0 h 823150"/>
                    <a:gd name="connsiteX6" fmla="*/ 1156526 w 1156525"/>
                    <a:gd name="connsiteY6" fmla="*/ 22479 h 823150"/>
                    <a:gd name="connsiteX7" fmla="*/ 1156526 w 1156525"/>
                    <a:gd name="connsiteY7" fmla="*/ 800576 h 823150"/>
                    <a:gd name="connsiteX8" fmla="*/ 1133951 w 1156525"/>
                    <a:gd name="connsiteY8" fmla="*/ 823151 h 823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56525" h="823150">
                      <a:moveTo>
                        <a:pt x="1133951" y="823151"/>
                      </a:moveTo>
                      <a:lnTo>
                        <a:pt x="22479" y="823151"/>
                      </a:lnTo>
                      <a:cubicBezTo>
                        <a:pt x="10001" y="823151"/>
                        <a:pt x="0" y="813054"/>
                        <a:pt x="0" y="800672"/>
                      </a:cubicBezTo>
                      <a:lnTo>
                        <a:pt x="0" y="22479"/>
                      </a:lnTo>
                      <a:cubicBezTo>
                        <a:pt x="0" y="10001"/>
                        <a:pt x="10096" y="0"/>
                        <a:pt x="22479" y="0"/>
                      </a:cubicBezTo>
                      <a:lnTo>
                        <a:pt x="1134047" y="0"/>
                      </a:lnTo>
                      <a:cubicBezTo>
                        <a:pt x="1146524" y="0"/>
                        <a:pt x="1156526" y="10097"/>
                        <a:pt x="1156526" y="22479"/>
                      </a:cubicBezTo>
                      <a:lnTo>
                        <a:pt x="1156526" y="800576"/>
                      </a:lnTo>
                      <a:cubicBezTo>
                        <a:pt x="1156526" y="813054"/>
                        <a:pt x="1146429" y="823151"/>
                        <a:pt x="1133951" y="82315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52" name="任意多边形 451"/>
                <p:cNvSpPr/>
                <p:nvPr/>
              </p:nvSpPr>
              <p:spPr>
                <a:xfrm>
                  <a:off x="3375278" y="3947350"/>
                  <a:ext cx="1233297" cy="9525"/>
                </a:xfrm>
                <a:custGeom>
                  <a:avLst/>
                  <a:gdLst>
                    <a:gd name="connsiteX0" fmla="*/ 0 w 1233297"/>
                    <a:gd name="connsiteY0" fmla="*/ 0 h 9525"/>
                    <a:gd name="connsiteX1" fmla="*/ 1233297 w 1233297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33297" h="9525">
                      <a:moveTo>
                        <a:pt x="0" y="0"/>
                      </a:moveTo>
                      <a:lnTo>
                        <a:pt x="1233297" y="0"/>
                      </a:lnTo>
                    </a:path>
                  </a:pathLst>
                </a:custGeom>
                <a:ln w="18666" cap="flat">
                  <a:solidFill>
                    <a:srgbClr val="FDEEEA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53" name="任意多边形 452"/>
                <p:cNvSpPr/>
                <p:nvPr/>
              </p:nvSpPr>
              <p:spPr>
                <a:xfrm>
                  <a:off x="3375278" y="4204810"/>
                  <a:ext cx="1233297" cy="9525"/>
                </a:xfrm>
                <a:custGeom>
                  <a:avLst/>
                  <a:gdLst>
                    <a:gd name="connsiteX0" fmla="*/ 0 w 1233297"/>
                    <a:gd name="connsiteY0" fmla="*/ 0 h 9525"/>
                    <a:gd name="connsiteX1" fmla="*/ 1233297 w 1233297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33297" h="9525">
                      <a:moveTo>
                        <a:pt x="0" y="0"/>
                      </a:moveTo>
                      <a:lnTo>
                        <a:pt x="1233297" y="0"/>
                      </a:lnTo>
                    </a:path>
                  </a:pathLst>
                </a:custGeom>
                <a:ln w="18666" cap="flat">
                  <a:solidFill>
                    <a:srgbClr val="FDEEEA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54" name="任意多边形 453"/>
                <p:cNvSpPr/>
                <p:nvPr/>
              </p:nvSpPr>
              <p:spPr>
                <a:xfrm>
                  <a:off x="3540537" y="3757993"/>
                  <a:ext cx="140017" cy="140017"/>
                </a:xfrm>
                <a:custGeom>
                  <a:avLst/>
                  <a:gdLst>
                    <a:gd name="connsiteX0" fmla="*/ 140018 w 140017"/>
                    <a:gd name="connsiteY0" fmla="*/ 70009 h 140017"/>
                    <a:gd name="connsiteX1" fmla="*/ 70009 w 140017"/>
                    <a:gd name="connsiteY1" fmla="*/ 140018 h 140017"/>
                    <a:gd name="connsiteX2" fmla="*/ 0 w 140017"/>
                    <a:gd name="connsiteY2" fmla="*/ 70009 h 140017"/>
                    <a:gd name="connsiteX3" fmla="*/ 70009 w 140017"/>
                    <a:gd name="connsiteY3" fmla="*/ 0 h 140017"/>
                    <a:gd name="connsiteX4" fmla="*/ 140018 w 140017"/>
                    <a:gd name="connsiteY4" fmla="*/ 70009 h 1400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0017" h="140017">
                      <a:moveTo>
                        <a:pt x="140018" y="70009"/>
                      </a:moveTo>
                      <a:cubicBezTo>
                        <a:pt x="140018" y="108674"/>
                        <a:pt x="108674" y="140018"/>
                        <a:pt x="70009" y="140018"/>
                      </a:cubicBezTo>
                      <a:cubicBezTo>
                        <a:pt x="31344" y="140018"/>
                        <a:pt x="0" y="108674"/>
                        <a:pt x="0" y="70009"/>
                      </a:cubicBezTo>
                      <a:cubicBezTo>
                        <a:pt x="0" y="31344"/>
                        <a:pt x="31344" y="0"/>
                        <a:pt x="70009" y="0"/>
                      </a:cubicBezTo>
                      <a:cubicBezTo>
                        <a:pt x="108674" y="0"/>
                        <a:pt x="140018" y="31344"/>
                        <a:pt x="140018" y="70009"/>
                      </a:cubicBezTo>
                      <a:close/>
                    </a:path>
                  </a:pathLst>
                </a:custGeom>
                <a:solidFill>
                  <a:srgbClr val="7393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55" name="任意多边形 454"/>
                <p:cNvSpPr/>
                <p:nvPr/>
              </p:nvSpPr>
              <p:spPr>
                <a:xfrm rot="-4629702">
                  <a:off x="3540518" y="4005418"/>
                  <a:ext cx="140017" cy="140017"/>
                </a:xfrm>
                <a:custGeom>
                  <a:avLst/>
                  <a:gdLst>
                    <a:gd name="connsiteX0" fmla="*/ 140017 w 140017"/>
                    <a:gd name="connsiteY0" fmla="*/ 70009 h 140017"/>
                    <a:gd name="connsiteX1" fmla="*/ 70009 w 140017"/>
                    <a:gd name="connsiteY1" fmla="*/ 140017 h 140017"/>
                    <a:gd name="connsiteX2" fmla="*/ 0 w 140017"/>
                    <a:gd name="connsiteY2" fmla="*/ 70009 h 140017"/>
                    <a:gd name="connsiteX3" fmla="*/ 70009 w 140017"/>
                    <a:gd name="connsiteY3" fmla="*/ 0 h 140017"/>
                    <a:gd name="connsiteX4" fmla="*/ 140017 w 140017"/>
                    <a:gd name="connsiteY4" fmla="*/ 70009 h 1400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0017" h="140017">
                      <a:moveTo>
                        <a:pt x="140017" y="70009"/>
                      </a:moveTo>
                      <a:cubicBezTo>
                        <a:pt x="140017" y="108673"/>
                        <a:pt x="108673" y="140017"/>
                        <a:pt x="70009" y="140017"/>
                      </a:cubicBezTo>
                      <a:cubicBezTo>
                        <a:pt x="31344" y="140017"/>
                        <a:pt x="0" y="108673"/>
                        <a:pt x="0" y="70009"/>
                      </a:cubicBezTo>
                      <a:cubicBezTo>
                        <a:pt x="0" y="31344"/>
                        <a:pt x="31344" y="0"/>
                        <a:pt x="70009" y="0"/>
                      </a:cubicBezTo>
                      <a:cubicBezTo>
                        <a:pt x="108673" y="0"/>
                        <a:pt x="140017" y="31344"/>
                        <a:pt x="140017" y="70009"/>
                      </a:cubicBezTo>
                      <a:close/>
                    </a:path>
                  </a:pathLst>
                </a:custGeom>
                <a:solidFill>
                  <a:srgbClr val="7393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56" name="任意多边形 455"/>
                <p:cNvSpPr/>
                <p:nvPr/>
              </p:nvSpPr>
              <p:spPr>
                <a:xfrm>
                  <a:off x="3540537" y="4262151"/>
                  <a:ext cx="140017" cy="140017"/>
                </a:xfrm>
                <a:custGeom>
                  <a:avLst/>
                  <a:gdLst>
                    <a:gd name="connsiteX0" fmla="*/ 140018 w 140017"/>
                    <a:gd name="connsiteY0" fmla="*/ 70009 h 140017"/>
                    <a:gd name="connsiteX1" fmla="*/ 70009 w 140017"/>
                    <a:gd name="connsiteY1" fmla="*/ 140018 h 140017"/>
                    <a:gd name="connsiteX2" fmla="*/ 0 w 140017"/>
                    <a:gd name="connsiteY2" fmla="*/ 70009 h 140017"/>
                    <a:gd name="connsiteX3" fmla="*/ 70009 w 140017"/>
                    <a:gd name="connsiteY3" fmla="*/ 0 h 140017"/>
                    <a:gd name="connsiteX4" fmla="*/ 140018 w 140017"/>
                    <a:gd name="connsiteY4" fmla="*/ 70009 h 1400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0017" h="140017">
                      <a:moveTo>
                        <a:pt x="140018" y="70009"/>
                      </a:moveTo>
                      <a:cubicBezTo>
                        <a:pt x="140018" y="108674"/>
                        <a:pt x="108674" y="140018"/>
                        <a:pt x="70009" y="140018"/>
                      </a:cubicBezTo>
                      <a:cubicBezTo>
                        <a:pt x="31344" y="140018"/>
                        <a:pt x="0" y="108674"/>
                        <a:pt x="0" y="70009"/>
                      </a:cubicBezTo>
                      <a:cubicBezTo>
                        <a:pt x="0" y="31344"/>
                        <a:pt x="31344" y="0"/>
                        <a:pt x="70009" y="0"/>
                      </a:cubicBezTo>
                      <a:cubicBezTo>
                        <a:pt x="108674" y="0"/>
                        <a:pt x="140018" y="31344"/>
                        <a:pt x="140018" y="70009"/>
                      </a:cubicBezTo>
                      <a:close/>
                    </a:path>
                  </a:pathLst>
                </a:custGeom>
                <a:solidFill>
                  <a:srgbClr val="7393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457" name="组合 456"/>
                <p:cNvGrpSpPr/>
                <p:nvPr/>
              </p:nvGrpSpPr>
              <p:grpSpPr>
                <a:xfrm>
                  <a:off x="3722845" y="3797712"/>
                  <a:ext cx="625602" cy="48958"/>
                  <a:chOff x="3722845" y="3797712"/>
                  <a:chExt cx="625602" cy="48958"/>
                </a:xfrm>
              </p:grpSpPr>
              <p:sp>
                <p:nvSpPr>
                  <p:cNvPr id="467" name="任意多边形 466"/>
                  <p:cNvSpPr/>
                  <p:nvPr/>
                </p:nvSpPr>
                <p:spPr>
                  <a:xfrm>
                    <a:off x="3722845" y="3797712"/>
                    <a:ext cx="625602" cy="9525"/>
                  </a:xfrm>
                  <a:custGeom>
                    <a:avLst/>
                    <a:gdLst>
                      <a:gd name="connsiteX0" fmla="*/ 0 w 625602"/>
                      <a:gd name="connsiteY0" fmla="*/ 0 h 9525"/>
                      <a:gd name="connsiteX1" fmla="*/ 625602 w 625602"/>
                      <a:gd name="connsiteY1" fmla="*/ 0 h 95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25602" h="9525">
                        <a:moveTo>
                          <a:pt x="0" y="0"/>
                        </a:moveTo>
                        <a:lnTo>
                          <a:pt x="625602" y="0"/>
                        </a:lnTo>
                      </a:path>
                    </a:pathLst>
                  </a:custGeom>
                  <a:ln w="9333" cap="rnd">
                    <a:solidFill>
                      <a:srgbClr val="F1D5CE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468" name="任意多边形 467"/>
                  <p:cNvSpPr/>
                  <p:nvPr/>
                </p:nvSpPr>
                <p:spPr>
                  <a:xfrm>
                    <a:off x="3722845" y="3846670"/>
                    <a:ext cx="92868" cy="9525"/>
                  </a:xfrm>
                  <a:custGeom>
                    <a:avLst/>
                    <a:gdLst>
                      <a:gd name="connsiteX0" fmla="*/ 0 w 92868"/>
                      <a:gd name="connsiteY0" fmla="*/ 0 h 9525"/>
                      <a:gd name="connsiteX1" fmla="*/ 92869 w 92868"/>
                      <a:gd name="connsiteY1" fmla="*/ 0 h 95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92868" h="9525">
                        <a:moveTo>
                          <a:pt x="0" y="0"/>
                        </a:moveTo>
                        <a:lnTo>
                          <a:pt x="92869" y="0"/>
                        </a:lnTo>
                      </a:path>
                    </a:pathLst>
                  </a:custGeom>
                  <a:ln w="9333" cap="rnd">
                    <a:solidFill>
                      <a:srgbClr val="F1D5CE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458" name="组合 457"/>
                <p:cNvGrpSpPr/>
                <p:nvPr/>
              </p:nvGrpSpPr>
              <p:grpSpPr>
                <a:xfrm>
                  <a:off x="3722845" y="4047743"/>
                  <a:ext cx="625602" cy="48958"/>
                  <a:chOff x="3722845" y="4047743"/>
                  <a:chExt cx="625602" cy="48958"/>
                </a:xfrm>
              </p:grpSpPr>
              <p:sp>
                <p:nvSpPr>
                  <p:cNvPr id="465" name="任意多边形 464"/>
                  <p:cNvSpPr/>
                  <p:nvPr/>
                </p:nvSpPr>
                <p:spPr>
                  <a:xfrm>
                    <a:off x="3722845" y="4047743"/>
                    <a:ext cx="625602" cy="9525"/>
                  </a:xfrm>
                  <a:custGeom>
                    <a:avLst/>
                    <a:gdLst>
                      <a:gd name="connsiteX0" fmla="*/ 0 w 625602"/>
                      <a:gd name="connsiteY0" fmla="*/ 0 h 9525"/>
                      <a:gd name="connsiteX1" fmla="*/ 625602 w 625602"/>
                      <a:gd name="connsiteY1" fmla="*/ 0 h 95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25602" h="9525">
                        <a:moveTo>
                          <a:pt x="0" y="0"/>
                        </a:moveTo>
                        <a:lnTo>
                          <a:pt x="625602" y="0"/>
                        </a:lnTo>
                      </a:path>
                    </a:pathLst>
                  </a:custGeom>
                  <a:ln w="9333" cap="rnd">
                    <a:solidFill>
                      <a:srgbClr val="F1D5CE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466" name="任意多边形 465"/>
                  <p:cNvSpPr/>
                  <p:nvPr/>
                </p:nvSpPr>
                <p:spPr>
                  <a:xfrm>
                    <a:off x="3722845" y="4096702"/>
                    <a:ext cx="331565" cy="9525"/>
                  </a:xfrm>
                  <a:custGeom>
                    <a:avLst/>
                    <a:gdLst>
                      <a:gd name="connsiteX0" fmla="*/ 0 w 331565"/>
                      <a:gd name="connsiteY0" fmla="*/ 0 h 9525"/>
                      <a:gd name="connsiteX1" fmla="*/ 331565 w 331565"/>
                      <a:gd name="connsiteY1" fmla="*/ 0 h 95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31565" h="9525">
                        <a:moveTo>
                          <a:pt x="0" y="0"/>
                        </a:moveTo>
                        <a:lnTo>
                          <a:pt x="331565" y="0"/>
                        </a:lnTo>
                      </a:path>
                    </a:pathLst>
                  </a:custGeom>
                  <a:ln w="9333" cap="rnd">
                    <a:solidFill>
                      <a:srgbClr val="F1D5CE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459" name="组合 458"/>
                <p:cNvGrpSpPr/>
                <p:nvPr/>
              </p:nvGrpSpPr>
              <p:grpSpPr>
                <a:xfrm>
                  <a:off x="3722845" y="4307014"/>
                  <a:ext cx="625602" cy="48958"/>
                  <a:chOff x="3722845" y="4307014"/>
                  <a:chExt cx="625602" cy="48958"/>
                </a:xfrm>
              </p:grpSpPr>
              <p:sp>
                <p:nvSpPr>
                  <p:cNvPr id="463" name="任意多边形 462"/>
                  <p:cNvSpPr/>
                  <p:nvPr/>
                </p:nvSpPr>
                <p:spPr>
                  <a:xfrm>
                    <a:off x="3722845" y="4307014"/>
                    <a:ext cx="136778" cy="9525"/>
                  </a:xfrm>
                  <a:custGeom>
                    <a:avLst/>
                    <a:gdLst>
                      <a:gd name="connsiteX0" fmla="*/ 0 w 136778"/>
                      <a:gd name="connsiteY0" fmla="*/ 0 h 9525"/>
                      <a:gd name="connsiteX1" fmla="*/ 136779 w 136778"/>
                      <a:gd name="connsiteY1" fmla="*/ 0 h 95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6778" h="9525">
                        <a:moveTo>
                          <a:pt x="0" y="0"/>
                        </a:moveTo>
                        <a:lnTo>
                          <a:pt x="136779" y="0"/>
                        </a:lnTo>
                      </a:path>
                    </a:pathLst>
                  </a:custGeom>
                  <a:ln w="9333" cap="rnd">
                    <a:solidFill>
                      <a:srgbClr val="F1D5CE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464" name="任意多边形 463"/>
                  <p:cNvSpPr/>
                  <p:nvPr/>
                </p:nvSpPr>
                <p:spPr>
                  <a:xfrm>
                    <a:off x="3722845" y="4355972"/>
                    <a:ext cx="625602" cy="9525"/>
                  </a:xfrm>
                  <a:custGeom>
                    <a:avLst/>
                    <a:gdLst>
                      <a:gd name="connsiteX0" fmla="*/ 0 w 625602"/>
                      <a:gd name="connsiteY0" fmla="*/ 0 h 9525"/>
                      <a:gd name="connsiteX1" fmla="*/ 625602 w 625602"/>
                      <a:gd name="connsiteY1" fmla="*/ 0 h 95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25602" h="9525">
                        <a:moveTo>
                          <a:pt x="0" y="0"/>
                        </a:moveTo>
                        <a:lnTo>
                          <a:pt x="625602" y="0"/>
                        </a:lnTo>
                      </a:path>
                    </a:pathLst>
                  </a:custGeom>
                  <a:ln w="9333" cap="rnd">
                    <a:solidFill>
                      <a:srgbClr val="F1D5CE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sp>
              <p:nvSpPr>
                <p:cNvPr id="460" name="任意多边形 459"/>
                <p:cNvSpPr/>
                <p:nvPr/>
              </p:nvSpPr>
              <p:spPr>
                <a:xfrm>
                  <a:off x="3582542" y="3807141"/>
                  <a:ext cx="56102" cy="41814"/>
                </a:xfrm>
                <a:custGeom>
                  <a:avLst/>
                  <a:gdLst>
                    <a:gd name="connsiteX0" fmla="*/ 0 w 56102"/>
                    <a:gd name="connsiteY0" fmla="*/ 28289 h 41814"/>
                    <a:gd name="connsiteX1" fmla="*/ 19812 w 56102"/>
                    <a:gd name="connsiteY1" fmla="*/ 41815 h 41814"/>
                    <a:gd name="connsiteX2" fmla="*/ 56102 w 56102"/>
                    <a:gd name="connsiteY2" fmla="*/ 0 h 418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6102" h="41814">
                      <a:moveTo>
                        <a:pt x="0" y="28289"/>
                      </a:moveTo>
                      <a:lnTo>
                        <a:pt x="19812" y="41815"/>
                      </a:lnTo>
                      <a:lnTo>
                        <a:pt x="56102" y="0"/>
                      </a:lnTo>
                    </a:path>
                  </a:pathLst>
                </a:custGeom>
                <a:noFill/>
                <a:ln w="11620" cap="rnd">
                  <a:solidFill>
                    <a:schemeClr val="l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61" name="任意多边形 460"/>
                <p:cNvSpPr/>
                <p:nvPr/>
              </p:nvSpPr>
              <p:spPr>
                <a:xfrm>
                  <a:off x="3582542" y="4053934"/>
                  <a:ext cx="56102" cy="41814"/>
                </a:xfrm>
                <a:custGeom>
                  <a:avLst/>
                  <a:gdLst>
                    <a:gd name="connsiteX0" fmla="*/ 0 w 56102"/>
                    <a:gd name="connsiteY0" fmla="*/ 28289 h 41814"/>
                    <a:gd name="connsiteX1" fmla="*/ 19812 w 56102"/>
                    <a:gd name="connsiteY1" fmla="*/ 41815 h 41814"/>
                    <a:gd name="connsiteX2" fmla="*/ 56102 w 56102"/>
                    <a:gd name="connsiteY2" fmla="*/ 0 h 418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6102" h="41814">
                      <a:moveTo>
                        <a:pt x="0" y="28289"/>
                      </a:moveTo>
                      <a:lnTo>
                        <a:pt x="19812" y="41815"/>
                      </a:lnTo>
                      <a:lnTo>
                        <a:pt x="56102" y="0"/>
                      </a:lnTo>
                    </a:path>
                  </a:pathLst>
                </a:custGeom>
                <a:noFill/>
                <a:ln w="11620" cap="rnd">
                  <a:solidFill>
                    <a:schemeClr val="l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62" name="任意多边形 461"/>
                <p:cNvSpPr/>
                <p:nvPr/>
              </p:nvSpPr>
              <p:spPr>
                <a:xfrm>
                  <a:off x="3582542" y="4311204"/>
                  <a:ext cx="56102" cy="41814"/>
                </a:xfrm>
                <a:custGeom>
                  <a:avLst/>
                  <a:gdLst>
                    <a:gd name="connsiteX0" fmla="*/ 0 w 56102"/>
                    <a:gd name="connsiteY0" fmla="*/ 28289 h 41814"/>
                    <a:gd name="connsiteX1" fmla="*/ 19812 w 56102"/>
                    <a:gd name="connsiteY1" fmla="*/ 41815 h 41814"/>
                    <a:gd name="connsiteX2" fmla="*/ 56102 w 56102"/>
                    <a:gd name="connsiteY2" fmla="*/ 0 h 418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6102" h="41814">
                      <a:moveTo>
                        <a:pt x="0" y="28289"/>
                      </a:moveTo>
                      <a:lnTo>
                        <a:pt x="19812" y="41815"/>
                      </a:lnTo>
                      <a:lnTo>
                        <a:pt x="56102" y="0"/>
                      </a:lnTo>
                    </a:path>
                  </a:pathLst>
                </a:custGeom>
                <a:noFill/>
                <a:ln w="11620" cap="rnd">
                  <a:solidFill>
                    <a:schemeClr val="lt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364" name="组合 363"/>
              <p:cNvGrpSpPr/>
              <p:nvPr/>
            </p:nvGrpSpPr>
            <p:grpSpPr>
              <a:xfrm>
                <a:off x="3590320" y="2402190"/>
                <a:ext cx="5139522" cy="2943083"/>
                <a:chOff x="3292601" y="3927839"/>
                <a:chExt cx="2525172" cy="1446008"/>
              </a:xfrm>
            </p:grpSpPr>
            <p:grpSp>
              <p:nvGrpSpPr>
                <p:cNvPr id="365" name="组合 364"/>
                <p:cNvGrpSpPr/>
                <p:nvPr/>
              </p:nvGrpSpPr>
              <p:grpSpPr>
                <a:xfrm>
                  <a:off x="4389786" y="3927839"/>
                  <a:ext cx="1064799" cy="1446008"/>
                  <a:chOff x="4389786" y="3927839"/>
                  <a:chExt cx="1064799" cy="1446008"/>
                </a:xfrm>
              </p:grpSpPr>
              <p:grpSp>
                <p:nvGrpSpPr>
                  <p:cNvPr id="376" name="组合 375"/>
                  <p:cNvGrpSpPr/>
                  <p:nvPr/>
                </p:nvGrpSpPr>
                <p:grpSpPr>
                  <a:xfrm>
                    <a:off x="4960428" y="4392738"/>
                    <a:ext cx="494157" cy="980979"/>
                    <a:chOff x="4960428" y="4392738"/>
                    <a:chExt cx="494157" cy="980979"/>
                  </a:xfrm>
                  <a:noFill/>
                </p:grpSpPr>
                <p:sp>
                  <p:nvSpPr>
                    <p:cNvPr id="439" name="任意多边形 438"/>
                    <p:cNvSpPr/>
                    <p:nvPr/>
                  </p:nvSpPr>
                  <p:spPr>
                    <a:xfrm>
                      <a:off x="4960428" y="4392738"/>
                      <a:ext cx="494157" cy="514254"/>
                    </a:xfrm>
                    <a:custGeom>
                      <a:avLst/>
                      <a:gdLst>
                        <a:gd name="connsiteX0" fmla="*/ 0 w 494157"/>
                        <a:gd name="connsiteY0" fmla="*/ 514255 h 514254"/>
                        <a:gd name="connsiteX1" fmla="*/ 215170 w 494157"/>
                        <a:gd name="connsiteY1" fmla="*/ 514255 h 514254"/>
                        <a:gd name="connsiteX2" fmla="*/ 440817 w 494157"/>
                        <a:gd name="connsiteY2" fmla="*/ 316992 h 514254"/>
                        <a:gd name="connsiteX3" fmla="*/ 494157 w 494157"/>
                        <a:gd name="connsiteY3" fmla="*/ 0 h 51425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94157" h="514254">
                          <a:moveTo>
                            <a:pt x="0" y="514255"/>
                          </a:moveTo>
                          <a:lnTo>
                            <a:pt x="215170" y="514255"/>
                          </a:lnTo>
                          <a:cubicBezTo>
                            <a:pt x="336137" y="514255"/>
                            <a:pt x="420719" y="436245"/>
                            <a:pt x="440817" y="316992"/>
                          </a:cubicBezTo>
                          <a:lnTo>
                            <a:pt x="494157" y="0"/>
                          </a:lnTo>
                        </a:path>
                      </a:pathLst>
                    </a:custGeom>
                    <a:noFill/>
                    <a:ln w="52033" cap="rnd">
                      <a:solidFill>
                        <a:srgbClr val="1B172C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440" name="任意多边形 439"/>
                    <p:cNvSpPr/>
                    <p:nvPr/>
                  </p:nvSpPr>
                  <p:spPr>
                    <a:xfrm>
                      <a:off x="4962905" y="4838128"/>
                      <a:ext cx="403574" cy="535590"/>
                    </a:xfrm>
                    <a:custGeom>
                      <a:avLst/>
                      <a:gdLst>
                        <a:gd name="connsiteX0" fmla="*/ 0 w 403574"/>
                        <a:gd name="connsiteY0" fmla="*/ 535591 h 535590"/>
                        <a:gd name="connsiteX1" fmla="*/ 96583 w 403574"/>
                        <a:gd name="connsiteY1" fmla="*/ 88011 h 535590"/>
                        <a:gd name="connsiteX2" fmla="*/ 206026 w 403574"/>
                        <a:gd name="connsiteY2" fmla="*/ 0 h 535590"/>
                        <a:gd name="connsiteX3" fmla="*/ 206026 w 403574"/>
                        <a:gd name="connsiteY3" fmla="*/ 0 h 535590"/>
                        <a:gd name="connsiteX4" fmla="*/ 315944 w 403574"/>
                        <a:gd name="connsiteY4" fmla="*/ 90011 h 535590"/>
                        <a:gd name="connsiteX5" fmla="*/ 403574 w 403574"/>
                        <a:gd name="connsiteY5" fmla="*/ 535496 h 53559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03574" h="535590">
                          <a:moveTo>
                            <a:pt x="0" y="535591"/>
                          </a:moveTo>
                          <a:lnTo>
                            <a:pt x="96583" y="88011"/>
                          </a:lnTo>
                          <a:cubicBezTo>
                            <a:pt x="107918" y="36671"/>
                            <a:pt x="153448" y="0"/>
                            <a:pt x="206026" y="0"/>
                          </a:cubicBezTo>
                          <a:lnTo>
                            <a:pt x="206026" y="0"/>
                          </a:lnTo>
                          <a:cubicBezTo>
                            <a:pt x="259461" y="0"/>
                            <a:pt x="305372" y="37624"/>
                            <a:pt x="315944" y="90011"/>
                          </a:cubicBezTo>
                          <a:lnTo>
                            <a:pt x="403574" y="535496"/>
                          </a:lnTo>
                        </a:path>
                      </a:pathLst>
                    </a:custGeom>
                    <a:noFill/>
                    <a:ln w="17898" cap="flat">
                      <a:solidFill>
                        <a:schemeClr val="l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grpSp>
                <p:nvGrpSpPr>
                  <p:cNvPr id="377" name="组合 376"/>
                  <p:cNvGrpSpPr/>
                  <p:nvPr/>
                </p:nvGrpSpPr>
                <p:grpSpPr>
                  <a:xfrm>
                    <a:off x="4389786" y="3927839"/>
                    <a:ext cx="858436" cy="1446008"/>
                    <a:chOff x="4389786" y="3927839"/>
                    <a:chExt cx="858436" cy="1446008"/>
                  </a:xfrm>
                </p:grpSpPr>
                <p:grpSp>
                  <p:nvGrpSpPr>
                    <p:cNvPr id="378" name="组合 377"/>
                    <p:cNvGrpSpPr/>
                    <p:nvPr/>
                  </p:nvGrpSpPr>
                  <p:grpSpPr>
                    <a:xfrm>
                      <a:off x="4389786" y="4684680"/>
                      <a:ext cx="858436" cy="689167"/>
                      <a:chOff x="4389786" y="4684680"/>
                      <a:chExt cx="858436" cy="689167"/>
                    </a:xfrm>
                  </p:grpSpPr>
                  <p:grpSp>
                    <p:nvGrpSpPr>
                      <p:cNvPr id="414" name="组合 413"/>
                      <p:cNvGrpSpPr/>
                      <p:nvPr/>
                    </p:nvGrpSpPr>
                    <p:grpSpPr>
                      <a:xfrm>
                        <a:off x="4389786" y="4692014"/>
                        <a:ext cx="420528" cy="681833"/>
                        <a:chOff x="4389786" y="4692014"/>
                        <a:chExt cx="420528" cy="681833"/>
                      </a:xfrm>
                    </p:grpSpPr>
                    <p:grpSp>
                      <p:nvGrpSpPr>
                        <p:cNvPr id="428" name="组合 427"/>
                        <p:cNvGrpSpPr/>
                        <p:nvPr/>
                      </p:nvGrpSpPr>
                      <p:grpSpPr>
                        <a:xfrm>
                          <a:off x="4389786" y="5146833"/>
                          <a:ext cx="270224" cy="227014"/>
                          <a:chOff x="4389786" y="5146833"/>
                          <a:chExt cx="270224" cy="227014"/>
                        </a:xfrm>
                      </p:grpSpPr>
                      <p:sp>
                        <p:nvSpPr>
                          <p:cNvPr id="432" name="任意多边形 431"/>
                          <p:cNvSpPr/>
                          <p:nvPr/>
                        </p:nvSpPr>
                        <p:spPr>
                          <a:xfrm>
                            <a:off x="4530756" y="5146833"/>
                            <a:ext cx="129254" cy="170497"/>
                          </a:xfrm>
                          <a:custGeom>
                            <a:avLst/>
                            <a:gdLst>
                              <a:gd name="connsiteX0" fmla="*/ 0 w 129254"/>
                              <a:gd name="connsiteY0" fmla="*/ 162592 h 170497"/>
                              <a:gd name="connsiteX1" fmla="*/ 49911 w 129254"/>
                              <a:gd name="connsiteY1" fmla="*/ 4191 h 170497"/>
                              <a:gd name="connsiteX2" fmla="*/ 129254 w 129254"/>
                              <a:gd name="connsiteY2" fmla="*/ 0 h 170497"/>
                              <a:gd name="connsiteX3" fmla="*/ 79534 w 129254"/>
                              <a:gd name="connsiteY3" fmla="*/ 170021 h 170497"/>
                              <a:gd name="connsiteX4" fmla="*/ 2953 w 129254"/>
                              <a:gd name="connsiteY4" fmla="*/ 170497 h 170497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</a:cxnLst>
                            <a:rect l="l" t="t" r="r" b="b"/>
                            <a:pathLst>
                              <a:path w="129254" h="170497">
                                <a:moveTo>
                                  <a:pt x="0" y="162592"/>
                                </a:moveTo>
                                <a:lnTo>
                                  <a:pt x="49911" y="4191"/>
                                </a:lnTo>
                                <a:lnTo>
                                  <a:pt x="129254" y="0"/>
                                </a:lnTo>
                                <a:lnTo>
                                  <a:pt x="79534" y="170021"/>
                                </a:lnTo>
                                <a:lnTo>
                                  <a:pt x="2953" y="170497"/>
                                </a:lnTo>
                                <a:close/>
                              </a:path>
                            </a:pathLst>
                          </a:custGeom>
                          <a:solidFill>
                            <a:srgbClr val="FFBD9A"/>
                          </a:solidFill>
                          <a:ln w="9525" cap="flat">
                            <a:noFill/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zh-CN" altLang="en-US"/>
                          </a:p>
                        </p:txBody>
                      </p:sp>
                      <p:grpSp>
                        <p:nvGrpSpPr>
                          <p:cNvPr id="433" name="组合 432"/>
                          <p:cNvGrpSpPr/>
                          <p:nvPr/>
                        </p:nvGrpSpPr>
                        <p:grpSpPr>
                          <a:xfrm>
                            <a:off x="4389786" y="5268467"/>
                            <a:ext cx="252038" cy="105380"/>
                            <a:chOff x="4389786" y="5268467"/>
                            <a:chExt cx="252038" cy="105380"/>
                          </a:xfrm>
                        </p:grpSpPr>
                        <p:sp>
                          <p:nvSpPr>
                            <p:cNvPr id="434" name="任意多边形 433"/>
                            <p:cNvSpPr/>
                            <p:nvPr/>
                          </p:nvSpPr>
                          <p:spPr>
                            <a:xfrm>
                              <a:off x="4389786" y="5268467"/>
                              <a:ext cx="251840" cy="82105"/>
                            </a:xfrm>
                            <a:custGeom>
                              <a:avLst/>
                              <a:gdLst>
                                <a:gd name="connsiteX0" fmla="*/ 231553 w 251840"/>
                                <a:gd name="connsiteY0" fmla="*/ 15526 h 82105"/>
                                <a:gd name="connsiteX1" fmla="*/ 135065 w 251840"/>
                                <a:gd name="connsiteY1" fmla="*/ 0 h 82105"/>
                                <a:gd name="connsiteX2" fmla="*/ 0 w 251840"/>
                                <a:gd name="connsiteY2" fmla="*/ 82105 h 82105"/>
                                <a:gd name="connsiteX3" fmla="*/ 251841 w 251840"/>
                                <a:gd name="connsiteY3" fmla="*/ 80486 h 82105"/>
                                <a:gd name="connsiteX4" fmla="*/ 231553 w 251840"/>
                                <a:gd name="connsiteY4" fmla="*/ 15526 h 82105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</a:cxnLst>
                              <a:rect l="l" t="t" r="r" b="b"/>
                              <a:pathLst>
                                <a:path w="251840" h="82105">
                                  <a:moveTo>
                                    <a:pt x="231553" y="15526"/>
                                  </a:moveTo>
                                  <a:cubicBezTo>
                                    <a:pt x="231553" y="15526"/>
                                    <a:pt x="165925" y="42481"/>
                                    <a:pt x="135065" y="0"/>
                                  </a:cubicBezTo>
                                  <a:lnTo>
                                    <a:pt x="0" y="82105"/>
                                  </a:lnTo>
                                  <a:lnTo>
                                    <a:pt x="251841" y="80486"/>
                                  </a:lnTo>
                                  <a:lnTo>
                                    <a:pt x="231553" y="15526"/>
                                  </a:lnTo>
                                  <a:close/>
                                </a:path>
                              </a:pathLst>
                            </a:custGeom>
                            <a:solidFill>
                              <a:srgbClr val="000000"/>
                            </a:solidFill>
                            <a:ln w="9525" cap="flat">
                              <a:noFill/>
                              <a:prstDash val="solid"/>
                              <a:miter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endParaRPr lang="zh-CN" altLang="en-US"/>
                            </a:p>
                          </p:txBody>
                        </p:sp>
                        <p:sp>
                          <p:nvSpPr>
                            <p:cNvPr id="435" name="任意多边形 434"/>
                            <p:cNvSpPr/>
                            <p:nvPr/>
                          </p:nvSpPr>
                          <p:spPr>
                            <a:xfrm rot="-22139">
                              <a:off x="4389906" y="5349795"/>
                              <a:ext cx="251846" cy="23241"/>
                            </a:xfrm>
                            <a:custGeom>
                              <a:avLst/>
                              <a:gdLst>
                                <a:gd name="connsiteX0" fmla="*/ 0 w 251846"/>
                                <a:gd name="connsiteY0" fmla="*/ 0 h 23241"/>
                                <a:gd name="connsiteX1" fmla="*/ 251846 w 251846"/>
                                <a:gd name="connsiteY1" fmla="*/ 0 h 23241"/>
                                <a:gd name="connsiteX2" fmla="*/ 251846 w 251846"/>
                                <a:gd name="connsiteY2" fmla="*/ 23241 h 23241"/>
                                <a:gd name="connsiteX3" fmla="*/ 0 w 251846"/>
                                <a:gd name="connsiteY3" fmla="*/ 23241 h 23241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</a:cxnLst>
                              <a:rect l="l" t="t" r="r" b="b"/>
                              <a:pathLst>
                                <a:path w="251846" h="23241">
                                  <a:moveTo>
                                    <a:pt x="0" y="0"/>
                                  </a:moveTo>
                                  <a:lnTo>
                                    <a:pt x="251846" y="0"/>
                                  </a:lnTo>
                                  <a:lnTo>
                                    <a:pt x="251846" y="23241"/>
                                  </a:lnTo>
                                  <a:lnTo>
                                    <a:pt x="0" y="23241"/>
                                  </a:lnTo>
                                  <a:close/>
                                </a:path>
                              </a:pathLst>
                            </a:custGeom>
                            <a:solidFill>
                              <a:schemeClr val="lt2"/>
                            </a:solidFill>
                            <a:ln w="9525" cap="flat">
                              <a:noFill/>
                              <a:prstDash val="solid"/>
                              <a:miter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endParaRPr lang="zh-CN" altLang="en-US"/>
                            </a:p>
                          </p:txBody>
                        </p:sp>
                        <p:sp>
                          <p:nvSpPr>
                            <p:cNvPr id="436" name="任意多边形 435"/>
                            <p:cNvSpPr/>
                            <p:nvPr/>
                          </p:nvSpPr>
                          <p:spPr>
                            <a:xfrm>
                              <a:off x="4502030" y="5274831"/>
                              <a:ext cx="30794" cy="29797"/>
                            </a:xfrm>
                            <a:custGeom>
                              <a:avLst/>
                              <a:gdLst>
                                <a:gd name="connsiteX0" fmla="*/ 24534 w 30794"/>
                                <a:gd name="connsiteY0" fmla="*/ 29450 h 29797"/>
                                <a:gd name="connsiteX1" fmla="*/ 22725 w 30794"/>
                                <a:gd name="connsiteY1" fmla="*/ 28022 h 29797"/>
                                <a:gd name="connsiteX2" fmla="*/ 1960 w 30794"/>
                                <a:gd name="connsiteY2" fmla="*/ 7733 h 29797"/>
                                <a:gd name="connsiteX3" fmla="*/ 722 w 30794"/>
                                <a:gd name="connsiteY3" fmla="*/ 1828 h 29797"/>
                                <a:gd name="connsiteX4" fmla="*/ 6913 w 30794"/>
                                <a:gd name="connsiteY4" fmla="*/ 685 h 29797"/>
                                <a:gd name="connsiteX5" fmla="*/ 29964 w 30794"/>
                                <a:gd name="connsiteY5" fmla="*/ 22973 h 29797"/>
                                <a:gd name="connsiteX6" fmla="*/ 29011 w 30794"/>
                                <a:gd name="connsiteY6" fmla="*/ 28879 h 29797"/>
                                <a:gd name="connsiteX7" fmla="*/ 24534 w 30794"/>
                                <a:gd name="connsiteY7" fmla="*/ 29450 h 29797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  <a:cxn ang="0">
                                  <a:pos x="connsiteX6" y="connsiteY6"/>
                                </a:cxn>
                                <a:cxn ang="0">
                                  <a:pos x="connsiteX7" y="connsiteY7"/>
                                </a:cxn>
                              </a:cxnLst>
                              <a:rect l="l" t="t" r="r" b="b"/>
                              <a:pathLst>
                                <a:path w="30794" h="29797">
                                  <a:moveTo>
                                    <a:pt x="24534" y="29450"/>
                                  </a:moveTo>
                                  <a:cubicBezTo>
                                    <a:pt x="23868" y="29165"/>
                                    <a:pt x="23201" y="28688"/>
                                    <a:pt x="22725" y="28022"/>
                                  </a:cubicBezTo>
                                  <a:cubicBezTo>
                                    <a:pt x="12438" y="14496"/>
                                    <a:pt x="2055" y="7828"/>
                                    <a:pt x="1960" y="7733"/>
                                  </a:cubicBezTo>
                                  <a:cubicBezTo>
                                    <a:pt x="-40" y="6400"/>
                                    <a:pt x="-612" y="3828"/>
                                    <a:pt x="722" y="1828"/>
                                  </a:cubicBezTo>
                                  <a:cubicBezTo>
                                    <a:pt x="2055" y="-77"/>
                                    <a:pt x="4913" y="-553"/>
                                    <a:pt x="6913" y="685"/>
                                  </a:cubicBezTo>
                                  <a:cubicBezTo>
                                    <a:pt x="7389" y="971"/>
                                    <a:pt x="18629" y="8209"/>
                                    <a:pt x="29964" y="22973"/>
                                  </a:cubicBezTo>
                                  <a:cubicBezTo>
                                    <a:pt x="31392" y="24878"/>
                                    <a:pt x="30916" y="27545"/>
                                    <a:pt x="29011" y="28879"/>
                                  </a:cubicBezTo>
                                  <a:cubicBezTo>
                                    <a:pt x="27583" y="29926"/>
                                    <a:pt x="25868" y="30022"/>
                                    <a:pt x="24534" y="29450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chemeClr val="lt2"/>
                            </a:solidFill>
                            <a:ln w="9525" cap="flat">
                              <a:noFill/>
                              <a:prstDash val="solid"/>
                              <a:miter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endParaRPr lang="zh-CN" altLang="en-US"/>
                            </a:p>
                          </p:txBody>
                        </p:sp>
                        <p:sp>
                          <p:nvSpPr>
                            <p:cNvPr id="437" name="任意多边形 436"/>
                            <p:cNvSpPr/>
                            <p:nvPr/>
                          </p:nvSpPr>
                          <p:spPr>
                            <a:xfrm>
                              <a:off x="4480313" y="5285647"/>
                              <a:ext cx="30794" cy="29839"/>
                            </a:xfrm>
                            <a:custGeom>
                              <a:avLst/>
                              <a:gdLst>
                                <a:gd name="connsiteX0" fmla="*/ 24534 w 30794"/>
                                <a:gd name="connsiteY0" fmla="*/ 29492 h 29839"/>
                                <a:gd name="connsiteX1" fmla="*/ 22725 w 30794"/>
                                <a:gd name="connsiteY1" fmla="*/ 28063 h 29839"/>
                                <a:gd name="connsiteX2" fmla="*/ 1960 w 30794"/>
                                <a:gd name="connsiteY2" fmla="*/ 7775 h 29839"/>
                                <a:gd name="connsiteX3" fmla="*/ 722 w 30794"/>
                                <a:gd name="connsiteY3" fmla="*/ 1870 h 29839"/>
                                <a:gd name="connsiteX4" fmla="*/ 6913 w 30794"/>
                                <a:gd name="connsiteY4" fmla="*/ 727 h 29839"/>
                                <a:gd name="connsiteX5" fmla="*/ 29964 w 30794"/>
                                <a:gd name="connsiteY5" fmla="*/ 23015 h 29839"/>
                                <a:gd name="connsiteX6" fmla="*/ 29011 w 30794"/>
                                <a:gd name="connsiteY6" fmla="*/ 28921 h 29839"/>
                                <a:gd name="connsiteX7" fmla="*/ 24534 w 30794"/>
                                <a:gd name="connsiteY7" fmla="*/ 29492 h 2983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  <a:cxn ang="0">
                                  <a:pos x="connsiteX6" y="connsiteY6"/>
                                </a:cxn>
                                <a:cxn ang="0">
                                  <a:pos x="connsiteX7" y="connsiteY7"/>
                                </a:cxn>
                              </a:cxnLst>
                              <a:rect l="l" t="t" r="r" b="b"/>
                              <a:pathLst>
                                <a:path w="30794" h="29839">
                                  <a:moveTo>
                                    <a:pt x="24534" y="29492"/>
                                  </a:moveTo>
                                  <a:cubicBezTo>
                                    <a:pt x="23868" y="29206"/>
                                    <a:pt x="23201" y="28730"/>
                                    <a:pt x="22725" y="28063"/>
                                  </a:cubicBezTo>
                                  <a:cubicBezTo>
                                    <a:pt x="12438" y="14538"/>
                                    <a:pt x="2055" y="7871"/>
                                    <a:pt x="1960" y="7775"/>
                                  </a:cubicBezTo>
                                  <a:cubicBezTo>
                                    <a:pt x="-40" y="6442"/>
                                    <a:pt x="-612" y="3870"/>
                                    <a:pt x="722" y="1870"/>
                                  </a:cubicBezTo>
                                  <a:cubicBezTo>
                                    <a:pt x="2055" y="-35"/>
                                    <a:pt x="4913" y="-607"/>
                                    <a:pt x="6913" y="727"/>
                                  </a:cubicBezTo>
                                  <a:cubicBezTo>
                                    <a:pt x="7389" y="1013"/>
                                    <a:pt x="18629" y="8252"/>
                                    <a:pt x="29964" y="23015"/>
                                  </a:cubicBezTo>
                                  <a:cubicBezTo>
                                    <a:pt x="31392" y="24920"/>
                                    <a:pt x="30916" y="27587"/>
                                    <a:pt x="29011" y="28921"/>
                                  </a:cubicBezTo>
                                  <a:cubicBezTo>
                                    <a:pt x="27583" y="29969"/>
                                    <a:pt x="25963" y="30064"/>
                                    <a:pt x="24534" y="29492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chemeClr val="lt2"/>
                            </a:solidFill>
                            <a:ln w="9525" cap="flat">
                              <a:noFill/>
                              <a:prstDash val="solid"/>
                              <a:miter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endParaRPr lang="zh-CN" altLang="en-US"/>
                            </a:p>
                          </p:txBody>
                        </p:sp>
                        <p:sp>
                          <p:nvSpPr>
                            <p:cNvPr id="438" name="任意多边形 437"/>
                            <p:cNvSpPr/>
                            <p:nvPr/>
                          </p:nvSpPr>
                          <p:spPr>
                            <a:xfrm>
                              <a:off x="4458691" y="5296601"/>
                              <a:ext cx="30821" cy="29750"/>
                            </a:xfrm>
                            <a:custGeom>
                              <a:avLst/>
                              <a:gdLst>
                                <a:gd name="connsiteX0" fmla="*/ 24534 w 30821"/>
                                <a:gd name="connsiteY0" fmla="*/ 29397 h 29750"/>
                                <a:gd name="connsiteX1" fmla="*/ 22725 w 30821"/>
                                <a:gd name="connsiteY1" fmla="*/ 27968 h 29750"/>
                                <a:gd name="connsiteX2" fmla="*/ 1960 w 30821"/>
                                <a:gd name="connsiteY2" fmla="*/ 7775 h 29750"/>
                                <a:gd name="connsiteX3" fmla="*/ 722 w 30821"/>
                                <a:gd name="connsiteY3" fmla="*/ 1870 h 29750"/>
                                <a:gd name="connsiteX4" fmla="*/ 6913 w 30821"/>
                                <a:gd name="connsiteY4" fmla="*/ 727 h 29750"/>
                                <a:gd name="connsiteX5" fmla="*/ 29964 w 30821"/>
                                <a:gd name="connsiteY5" fmla="*/ 23015 h 29750"/>
                                <a:gd name="connsiteX6" fmla="*/ 29011 w 30821"/>
                                <a:gd name="connsiteY6" fmla="*/ 28921 h 29750"/>
                                <a:gd name="connsiteX7" fmla="*/ 24534 w 30821"/>
                                <a:gd name="connsiteY7" fmla="*/ 29397 h 29750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  <a:cxn ang="0">
                                  <a:pos x="connsiteX6" y="connsiteY6"/>
                                </a:cxn>
                                <a:cxn ang="0">
                                  <a:pos x="connsiteX7" y="connsiteY7"/>
                                </a:cxn>
                              </a:cxnLst>
                              <a:rect l="l" t="t" r="r" b="b"/>
                              <a:pathLst>
                                <a:path w="30821" h="29750">
                                  <a:moveTo>
                                    <a:pt x="24534" y="29397"/>
                                  </a:moveTo>
                                  <a:cubicBezTo>
                                    <a:pt x="23868" y="29111"/>
                                    <a:pt x="23201" y="28635"/>
                                    <a:pt x="22725" y="27968"/>
                                  </a:cubicBezTo>
                                  <a:cubicBezTo>
                                    <a:pt x="12438" y="14443"/>
                                    <a:pt x="2056" y="7775"/>
                                    <a:pt x="1960" y="7775"/>
                                  </a:cubicBezTo>
                                  <a:cubicBezTo>
                                    <a:pt x="-40" y="6442"/>
                                    <a:pt x="-612" y="3870"/>
                                    <a:pt x="722" y="1870"/>
                                  </a:cubicBezTo>
                                  <a:cubicBezTo>
                                    <a:pt x="2056" y="-35"/>
                                    <a:pt x="4913" y="-607"/>
                                    <a:pt x="6913" y="727"/>
                                  </a:cubicBezTo>
                                  <a:cubicBezTo>
                                    <a:pt x="7390" y="1012"/>
                                    <a:pt x="18629" y="8251"/>
                                    <a:pt x="29964" y="23015"/>
                                  </a:cubicBezTo>
                                  <a:cubicBezTo>
                                    <a:pt x="31392" y="24920"/>
                                    <a:pt x="31012" y="27587"/>
                                    <a:pt x="29011" y="28921"/>
                                  </a:cubicBezTo>
                                  <a:cubicBezTo>
                                    <a:pt x="27583" y="29873"/>
                                    <a:pt x="25868" y="29968"/>
                                    <a:pt x="24534" y="29397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chemeClr val="lt2"/>
                            </a:solidFill>
                            <a:ln w="9525" cap="flat">
                              <a:noFill/>
                              <a:prstDash val="solid"/>
                              <a:miter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endParaRPr lang="zh-CN" altLang="en-US"/>
                            </a:p>
                          </p:txBody>
                        </p:sp>
                      </p:grpSp>
                    </p:grpSp>
                    <p:grpSp>
                      <p:nvGrpSpPr>
                        <p:cNvPr id="429" name="组合 428"/>
                        <p:cNvGrpSpPr/>
                        <p:nvPr/>
                      </p:nvGrpSpPr>
                      <p:grpSpPr>
                        <a:xfrm>
                          <a:off x="4510849" y="4692014"/>
                          <a:ext cx="299466" cy="523589"/>
                          <a:chOff x="4510849" y="4692014"/>
                          <a:chExt cx="299466" cy="523589"/>
                        </a:xfrm>
                      </p:grpSpPr>
                      <p:sp>
                        <p:nvSpPr>
                          <p:cNvPr id="430" name="任意多边形 429"/>
                          <p:cNvSpPr/>
                          <p:nvPr/>
                        </p:nvSpPr>
                        <p:spPr>
                          <a:xfrm>
                            <a:off x="4530279" y="4692014"/>
                            <a:ext cx="280035" cy="504158"/>
                          </a:xfrm>
                          <a:custGeom>
                            <a:avLst/>
                            <a:gdLst>
                              <a:gd name="connsiteX0" fmla="*/ 280035 w 280035"/>
                              <a:gd name="connsiteY0" fmla="*/ 0 h 504158"/>
                              <a:gd name="connsiteX1" fmla="*/ 211074 w 280035"/>
                              <a:gd name="connsiteY1" fmla="*/ 4381 h 504158"/>
                              <a:gd name="connsiteX2" fmla="*/ 108109 w 280035"/>
                              <a:gd name="connsiteY2" fmla="*/ 87821 h 504158"/>
                              <a:gd name="connsiteX3" fmla="*/ 0 w 280035"/>
                              <a:gd name="connsiteY3" fmla="*/ 504158 h 504158"/>
                              <a:gd name="connsiteX4" fmla="*/ 149733 w 280035"/>
                              <a:gd name="connsiteY4" fmla="*/ 490252 h 504158"/>
                              <a:gd name="connsiteX5" fmla="*/ 270510 w 280035"/>
                              <a:gd name="connsiteY5" fmla="*/ 124587 h 504158"/>
                              <a:gd name="connsiteX6" fmla="*/ 280035 w 280035"/>
                              <a:gd name="connsiteY6" fmla="*/ 0 h 504158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  <a:cxn ang="0">
                                <a:pos x="connsiteX5" y="connsiteY5"/>
                              </a:cxn>
                              <a:cxn ang="0">
                                <a:pos x="connsiteX6" y="connsiteY6"/>
                              </a:cxn>
                            </a:cxnLst>
                            <a:rect l="l" t="t" r="r" b="b"/>
                            <a:pathLst>
                              <a:path w="280035" h="504158">
                                <a:moveTo>
                                  <a:pt x="280035" y="0"/>
                                </a:moveTo>
                                <a:lnTo>
                                  <a:pt x="211074" y="4381"/>
                                </a:lnTo>
                                <a:cubicBezTo>
                                  <a:pt x="162496" y="7429"/>
                                  <a:pt x="121158" y="40957"/>
                                  <a:pt x="108109" y="87821"/>
                                </a:cubicBezTo>
                                <a:lnTo>
                                  <a:pt x="0" y="504158"/>
                                </a:lnTo>
                                <a:lnTo>
                                  <a:pt x="149733" y="490252"/>
                                </a:lnTo>
                                <a:lnTo>
                                  <a:pt x="270510" y="124587"/>
                                </a:lnTo>
                                <a:lnTo>
                                  <a:pt x="280035" y="0"/>
                                </a:lnTo>
                                <a:close/>
                              </a:path>
                            </a:pathLst>
                          </a:custGeom>
                          <a:solidFill>
                            <a:srgbClr val="007BDE"/>
                          </a:solidFill>
                          <a:ln w="9525" cap="flat">
                            <a:noFill/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zh-CN" altLang="en-US"/>
                          </a:p>
                        </p:txBody>
                      </p:sp>
                      <p:sp>
                        <p:nvSpPr>
                          <p:cNvPr id="431" name="任意多边形 430"/>
                          <p:cNvSpPr/>
                          <p:nvPr/>
                        </p:nvSpPr>
                        <p:spPr>
                          <a:xfrm>
                            <a:off x="4510849" y="5148928"/>
                            <a:ext cx="193452" cy="66675"/>
                          </a:xfrm>
                          <a:custGeom>
                            <a:avLst/>
                            <a:gdLst>
                              <a:gd name="connsiteX0" fmla="*/ 180880 w 193452"/>
                              <a:gd name="connsiteY0" fmla="*/ 66675 h 66675"/>
                              <a:gd name="connsiteX1" fmla="*/ 0 w 193452"/>
                              <a:gd name="connsiteY1" fmla="*/ 66675 h 66675"/>
                              <a:gd name="connsiteX2" fmla="*/ 12573 w 193452"/>
                              <a:gd name="connsiteY2" fmla="*/ 0 h 66675"/>
                              <a:gd name="connsiteX3" fmla="*/ 193453 w 193452"/>
                              <a:gd name="connsiteY3" fmla="*/ 0 h 66675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</a:cxnLst>
                            <a:rect l="l" t="t" r="r" b="b"/>
                            <a:pathLst>
                              <a:path w="193452" h="66675">
                                <a:moveTo>
                                  <a:pt x="180880" y="66675"/>
                                </a:moveTo>
                                <a:lnTo>
                                  <a:pt x="0" y="66675"/>
                                </a:lnTo>
                                <a:lnTo>
                                  <a:pt x="12573" y="0"/>
                                </a:lnTo>
                                <a:lnTo>
                                  <a:pt x="193453" y="0"/>
                                </a:lnTo>
                                <a:close/>
                              </a:path>
                            </a:pathLst>
                          </a:custGeom>
                          <a:solidFill>
                            <a:srgbClr val="0086FF"/>
                          </a:solidFill>
                          <a:ln w="9525" cap="flat">
                            <a:noFill/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zh-CN" altLang="en-US"/>
                          </a:p>
                        </p:txBody>
                      </p:sp>
                    </p:grpSp>
                  </p:grpSp>
                  <p:grpSp>
                    <p:nvGrpSpPr>
                      <p:cNvPr id="415" name="组合 414"/>
                      <p:cNvGrpSpPr/>
                      <p:nvPr/>
                    </p:nvGrpSpPr>
                    <p:grpSpPr>
                      <a:xfrm>
                        <a:off x="4679060" y="4684680"/>
                        <a:ext cx="569162" cy="689167"/>
                        <a:chOff x="4679060" y="4684680"/>
                        <a:chExt cx="569162" cy="689167"/>
                      </a:xfrm>
                    </p:grpSpPr>
                    <p:grpSp>
                      <p:nvGrpSpPr>
                        <p:cNvPr id="416" name="组合 415"/>
                        <p:cNvGrpSpPr/>
                        <p:nvPr/>
                      </p:nvGrpSpPr>
                      <p:grpSpPr>
                        <a:xfrm>
                          <a:off x="4679060" y="5148928"/>
                          <a:ext cx="252045" cy="224919"/>
                          <a:chOff x="4679060" y="5148928"/>
                          <a:chExt cx="252045" cy="224919"/>
                        </a:xfrm>
                      </p:grpSpPr>
                      <p:sp>
                        <p:nvSpPr>
                          <p:cNvPr id="421" name="任意多边形 420"/>
                          <p:cNvSpPr/>
                          <p:nvPr/>
                        </p:nvSpPr>
                        <p:spPr>
                          <a:xfrm>
                            <a:off x="4820030" y="5148928"/>
                            <a:ext cx="81629" cy="168401"/>
                          </a:xfrm>
                          <a:custGeom>
                            <a:avLst/>
                            <a:gdLst>
                              <a:gd name="connsiteX0" fmla="*/ 0 w 81629"/>
                              <a:gd name="connsiteY0" fmla="*/ 160496 h 168401"/>
                              <a:gd name="connsiteX1" fmla="*/ 2286 w 81629"/>
                              <a:gd name="connsiteY1" fmla="*/ 4191 h 168401"/>
                              <a:gd name="connsiteX2" fmla="*/ 81629 w 81629"/>
                              <a:gd name="connsiteY2" fmla="*/ 0 h 168401"/>
                              <a:gd name="connsiteX3" fmla="*/ 79534 w 81629"/>
                              <a:gd name="connsiteY3" fmla="*/ 167926 h 168401"/>
                              <a:gd name="connsiteX4" fmla="*/ 2953 w 81629"/>
                              <a:gd name="connsiteY4" fmla="*/ 168402 h 168401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</a:cxnLst>
                            <a:rect l="l" t="t" r="r" b="b"/>
                            <a:pathLst>
                              <a:path w="81629" h="168401">
                                <a:moveTo>
                                  <a:pt x="0" y="160496"/>
                                </a:moveTo>
                                <a:lnTo>
                                  <a:pt x="2286" y="4191"/>
                                </a:lnTo>
                                <a:lnTo>
                                  <a:pt x="81629" y="0"/>
                                </a:lnTo>
                                <a:lnTo>
                                  <a:pt x="79534" y="167926"/>
                                </a:lnTo>
                                <a:lnTo>
                                  <a:pt x="2953" y="168402"/>
                                </a:lnTo>
                                <a:close/>
                              </a:path>
                            </a:pathLst>
                          </a:custGeom>
                          <a:solidFill>
                            <a:srgbClr val="FFBD9A"/>
                          </a:solidFill>
                          <a:ln w="9525" cap="flat">
                            <a:noFill/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zh-CN" altLang="en-US"/>
                          </a:p>
                        </p:txBody>
                      </p:sp>
                      <p:grpSp>
                        <p:nvGrpSpPr>
                          <p:cNvPr id="422" name="组合 421"/>
                          <p:cNvGrpSpPr/>
                          <p:nvPr/>
                        </p:nvGrpSpPr>
                        <p:grpSpPr>
                          <a:xfrm>
                            <a:off x="4679060" y="5268467"/>
                            <a:ext cx="252045" cy="105380"/>
                            <a:chOff x="4679060" y="5268467"/>
                            <a:chExt cx="252045" cy="105380"/>
                          </a:xfrm>
                        </p:grpSpPr>
                        <p:sp>
                          <p:nvSpPr>
                            <p:cNvPr id="423" name="任意多边形 422"/>
                            <p:cNvSpPr/>
                            <p:nvPr/>
                          </p:nvSpPr>
                          <p:spPr>
                            <a:xfrm>
                              <a:off x="4679060" y="5268467"/>
                              <a:ext cx="251840" cy="82105"/>
                            </a:xfrm>
                            <a:custGeom>
                              <a:avLst/>
                              <a:gdLst>
                                <a:gd name="connsiteX0" fmla="*/ 231553 w 251840"/>
                                <a:gd name="connsiteY0" fmla="*/ 15526 h 82105"/>
                                <a:gd name="connsiteX1" fmla="*/ 135064 w 251840"/>
                                <a:gd name="connsiteY1" fmla="*/ 0 h 82105"/>
                                <a:gd name="connsiteX2" fmla="*/ 0 w 251840"/>
                                <a:gd name="connsiteY2" fmla="*/ 82105 h 82105"/>
                                <a:gd name="connsiteX3" fmla="*/ 251841 w 251840"/>
                                <a:gd name="connsiteY3" fmla="*/ 80486 h 82105"/>
                                <a:gd name="connsiteX4" fmla="*/ 231553 w 251840"/>
                                <a:gd name="connsiteY4" fmla="*/ 15526 h 82105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</a:cxnLst>
                              <a:rect l="l" t="t" r="r" b="b"/>
                              <a:pathLst>
                                <a:path w="251840" h="82105">
                                  <a:moveTo>
                                    <a:pt x="231553" y="15526"/>
                                  </a:moveTo>
                                  <a:cubicBezTo>
                                    <a:pt x="231553" y="15526"/>
                                    <a:pt x="165925" y="42481"/>
                                    <a:pt x="135064" y="0"/>
                                  </a:cubicBezTo>
                                  <a:lnTo>
                                    <a:pt x="0" y="82105"/>
                                  </a:lnTo>
                                  <a:lnTo>
                                    <a:pt x="251841" y="80486"/>
                                  </a:lnTo>
                                  <a:lnTo>
                                    <a:pt x="231553" y="15526"/>
                                  </a:lnTo>
                                  <a:close/>
                                </a:path>
                              </a:pathLst>
                            </a:custGeom>
                            <a:solidFill>
                              <a:srgbClr val="000000"/>
                            </a:solidFill>
                            <a:ln w="9525" cap="flat">
                              <a:noFill/>
                              <a:prstDash val="solid"/>
                              <a:miter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endParaRPr lang="zh-CN" altLang="en-US"/>
                            </a:p>
                          </p:txBody>
                        </p:sp>
                        <p:sp>
                          <p:nvSpPr>
                            <p:cNvPr id="424" name="任意多边形 423"/>
                            <p:cNvSpPr/>
                            <p:nvPr/>
                          </p:nvSpPr>
                          <p:spPr>
                            <a:xfrm rot="-22139">
                              <a:off x="4679187" y="5349795"/>
                              <a:ext cx="251846" cy="23241"/>
                            </a:xfrm>
                            <a:custGeom>
                              <a:avLst/>
                              <a:gdLst>
                                <a:gd name="connsiteX0" fmla="*/ 0 w 251846"/>
                                <a:gd name="connsiteY0" fmla="*/ 0 h 23241"/>
                                <a:gd name="connsiteX1" fmla="*/ 251846 w 251846"/>
                                <a:gd name="connsiteY1" fmla="*/ 0 h 23241"/>
                                <a:gd name="connsiteX2" fmla="*/ 251846 w 251846"/>
                                <a:gd name="connsiteY2" fmla="*/ 23241 h 23241"/>
                                <a:gd name="connsiteX3" fmla="*/ 0 w 251846"/>
                                <a:gd name="connsiteY3" fmla="*/ 23241 h 23241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</a:cxnLst>
                              <a:rect l="l" t="t" r="r" b="b"/>
                              <a:pathLst>
                                <a:path w="251846" h="23241">
                                  <a:moveTo>
                                    <a:pt x="0" y="0"/>
                                  </a:moveTo>
                                  <a:lnTo>
                                    <a:pt x="251846" y="0"/>
                                  </a:lnTo>
                                  <a:lnTo>
                                    <a:pt x="251846" y="23241"/>
                                  </a:lnTo>
                                  <a:lnTo>
                                    <a:pt x="0" y="23241"/>
                                  </a:lnTo>
                                  <a:close/>
                                </a:path>
                              </a:pathLst>
                            </a:custGeom>
                            <a:solidFill>
                              <a:schemeClr val="lt2"/>
                            </a:solidFill>
                            <a:ln w="9525" cap="flat">
                              <a:noFill/>
                              <a:prstDash val="solid"/>
                              <a:miter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endParaRPr lang="zh-CN" altLang="en-US"/>
                            </a:p>
                          </p:txBody>
                        </p:sp>
                        <p:sp>
                          <p:nvSpPr>
                            <p:cNvPr id="425" name="任意多边形 424"/>
                            <p:cNvSpPr/>
                            <p:nvPr/>
                          </p:nvSpPr>
                          <p:spPr>
                            <a:xfrm>
                              <a:off x="4791305" y="5274831"/>
                              <a:ext cx="30821" cy="29797"/>
                            </a:xfrm>
                            <a:custGeom>
                              <a:avLst/>
                              <a:gdLst>
                                <a:gd name="connsiteX0" fmla="*/ 24534 w 30821"/>
                                <a:gd name="connsiteY0" fmla="*/ 29450 h 29797"/>
                                <a:gd name="connsiteX1" fmla="*/ 22725 w 30821"/>
                                <a:gd name="connsiteY1" fmla="*/ 28022 h 29797"/>
                                <a:gd name="connsiteX2" fmla="*/ 1960 w 30821"/>
                                <a:gd name="connsiteY2" fmla="*/ 7733 h 29797"/>
                                <a:gd name="connsiteX3" fmla="*/ 722 w 30821"/>
                                <a:gd name="connsiteY3" fmla="*/ 1828 h 29797"/>
                                <a:gd name="connsiteX4" fmla="*/ 6913 w 30821"/>
                                <a:gd name="connsiteY4" fmla="*/ 685 h 29797"/>
                                <a:gd name="connsiteX5" fmla="*/ 29964 w 30821"/>
                                <a:gd name="connsiteY5" fmla="*/ 22973 h 29797"/>
                                <a:gd name="connsiteX6" fmla="*/ 29011 w 30821"/>
                                <a:gd name="connsiteY6" fmla="*/ 28879 h 29797"/>
                                <a:gd name="connsiteX7" fmla="*/ 24534 w 30821"/>
                                <a:gd name="connsiteY7" fmla="*/ 29450 h 29797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  <a:cxn ang="0">
                                  <a:pos x="connsiteX6" y="connsiteY6"/>
                                </a:cxn>
                                <a:cxn ang="0">
                                  <a:pos x="connsiteX7" y="connsiteY7"/>
                                </a:cxn>
                              </a:cxnLst>
                              <a:rect l="l" t="t" r="r" b="b"/>
                              <a:pathLst>
                                <a:path w="30821" h="29797">
                                  <a:moveTo>
                                    <a:pt x="24534" y="29450"/>
                                  </a:moveTo>
                                  <a:cubicBezTo>
                                    <a:pt x="23868" y="29165"/>
                                    <a:pt x="23201" y="28688"/>
                                    <a:pt x="22725" y="28022"/>
                                  </a:cubicBezTo>
                                  <a:cubicBezTo>
                                    <a:pt x="12438" y="14496"/>
                                    <a:pt x="2055" y="7828"/>
                                    <a:pt x="1960" y="7733"/>
                                  </a:cubicBezTo>
                                  <a:cubicBezTo>
                                    <a:pt x="-40" y="6400"/>
                                    <a:pt x="-612" y="3828"/>
                                    <a:pt x="722" y="1828"/>
                                  </a:cubicBezTo>
                                  <a:cubicBezTo>
                                    <a:pt x="2055" y="-77"/>
                                    <a:pt x="4913" y="-553"/>
                                    <a:pt x="6913" y="685"/>
                                  </a:cubicBezTo>
                                  <a:cubicBezTo>
                                    <a:pt x="7389" y="971"/>
                                    <a:pt x="18629" y="8209"/>
                                    <a:pt x="29964" y="22973"/>
                                  </a:cubicBezTo>
                                  <a:cubicBezTo>
                                    <a:pt x="31392" y="24878"/>
                                    <a:pt x="31011" y="27545"/>
                                    <a:pt x="29011" y="28879"/>
                                  </a:cubicBezTo>
                                  <a:cubicBezTo>
                                    <a:pt x="27582" y="29926"/>
                                    <a:pt x="25868" y="30022"/>
                                    <a:pt x="24534" y="29450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chemeClr val="lt2"/>
                            </a:solidFill>
                            <a:ln w="9525" cap="flat">
                              <a:noFill/>
                              <a:prstDash val="solid"/>
                              <a:miter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endParaRPr lang="zh-CN" altLang="en-US"/>
                            </a:p>
                          </p:txBody>
                        </p:sp>
                        <p:sp>
                          <p:nvSpPr>
                            <p:cNvPr id="426" name="任意多边形 425"/>
                            <p:cNvSpPr/>
                            <p:nvPr/>
                          </p:nvSpPr>
                          <p:spPr>
                            <a:xfrm>
                              <a:off x="4769588" y="5285647"/>
                              <a:ext cx="30794" cy="29839"/>
                            </a:xfrm>
                            <a:custGeom>
                              <a:avLst/>
                              <a:gdLst>
                                <a:gd name="connsiteX0" fmla="*/ 24535 w 30794"/>
                                <a:gd name="connsiteY0" fmla="*/ 29492 h 29839"/>
                                <a:gd name="connsiteX1" fmla="*/ 22725 w 30794"/>
                                <a:gd name="connsiteY1" fmla="*/ 28063 h 29839"/>
                                <a:gd name="connsiteX2" fmla="*/ 1960 w 30794"/>
                                <a:gd name="connsiteY2" fmla="*/ 7775 h 29839"/>
                                <a:gd name="connsiteX3" fmla="*/ 722 w 30794"/>
                                <a:gd name="connsiteY3" fmla="*/ 1870 h 29839"/>
                                <a:gd name="connsiteX4" fmla="*/ 6913 w 30794"/>
                                <a:gd name="connsiteY4" fmla="*/ 727 h 29839"/>
                                <a:gd name="connsiteX5" fmla="*/ 29964 w 30794"/>
                                <a:gd name="connsiteY5" fmla="*/ 23015 h 29839"/>
                                <a:gd name="connsiteX6" fmla="*/ 29011 w 30794"/>
                                <a:gd name="connsiteY6" fmla="*/ 28921 h 29839"/>
                                <a:gd name="connsiteX7" fmla="*/ 24535 w 30794"/>
                                <a:gd name="connsiteY7" fmla="*/ 29492 h 2983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  <a:cxn ang="0">
                                  <a:pos x="connsiteX6" y="connsiteY6"/>
                                </a:cxn>
                                <a:cxn ang="0">
                                  <a:pos x="connsiteX7" y="connsiteY7"/>
                                </a:cxn>
                              </a:cxnLst>
                              <a:rect l="l" t="t" r="r" b="b"/>
                              <a:pathLst>
                                <a:path w="30794" h="29839">
                                  <a:moveTo>
                                    <a:pt x="24535" y="29492"/>
                                  </a:moveTo>
                                  <a:cubicBezTo>
                                    <a:pt x="23868" y="29206"/>
                                    <a:pt x="23201" y="28730"/>
                                    <a:pt x="22725" y="28063"/>
                                  </a:cubicBezTo>
                                  <a:cubicBezTo>
                                    <a:pt x="12438" y="14538"/>
                                    <a:pt x="2056" y="7871"/>
                                    <a:pt x="1960" y="7775"/>
                                  </a:cubicBezTo>
                                  <a:cubicBezTo>
                                    <a:pt x="-40" y="6442"/>
                                    <a:pt x="-612" y="3870"/>
                                    <a:pt x="722" y="1870"/>
                                  </a:cubicBezTo>
                                  <a:cubicBezTo>
                                    <a:pt x="2056" y="-35"/>
                                    <a:pt x="4913" y="-607"/>
                                    <a:pt x="6913" y="727"/>
                                  </a:cubicBezTo>
                                  <a:cubicBezTo>
                                    <a:pt x="7390" y="1013"/>
                                    <a:pt x="18629" y="8252"/>
                                    <a:pt x="29964" y="23015"/>
                                  </a:cubicBezTo>
                                  <a:cubicBezTo>
                                    <a:pt x="31392" y="24920"/>
                                    <a:pt x="30916" y="27587"/>
                                    <a:pt x="29011" y="28921"/>
                                  </a:cubicBezTo>
                                  <a:cubicBezTo>
                                    <a:pt x="27582" y="29969"/>
                                    <a:pt x="25963" y="30064"/>
                                    <a:pt x="24535" y="29492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chemeClr val="lt2"/>
                            </a:solidFill>
                            <a:ln w="9525" cap="flat">
                              <a:noFill/>
                              <a:prstDash val="solid"/>
                              <a:miter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endParaRPr lang="zh-CN" altLang="en-US"/>
                            </a:p>
                          </p:txBody>
                        </p:sp>
                        <p:sp>
                          <p:nvSpPr>
                            <p:cNvPr id="427" name="任意多边形 426"/>
                            <p:cNvSpPr/>
                            <p:nvPr/>
                          </p:nvSpPr>
                          <p:spPr>
                            <a:xfrm>
                              <a:off x="4747966" y="5296601"/>
                              <a:ext cx="30794" cy="29750"/>
                            </a:xfrm>
                            <a:custGeom>
                              <a:avLst/>
                              <a:gdLst>
                                <a:gd name="connsiteX0" fmla="*/ 24534 w 30794"/>
                                <a:gd name="connsiteY0" fmla="*/ 29397 h 29750"/>
                                <a:gd name="connsiteX1" fmla="*/ 22725 w 30794"/>
                                <a:gd name="connsiteY1" fmla="*/ 27968 h 29750"/>
                                <a:gd name="connsiteX2" fmla="*/ 1960 w 30794"/>
                                <a:gd name="connsiteY2" fmla="*/ 7775 h 29750"/>
                                <a:gd name="connsiteX3" fmla="*/ 722 w 30794"/>
                                <a:gd name="connsiteY3" fmla="*/ 1870 h 29750"/>
                                <a:gd name="connsiteX4" fmla="*/ 6913 w 30794"/>
                                <a:gd name="connsiteY4" fmla="*/ 727 h 29750"/>
                                <a:gd name="connsiteX5" fmla="*/ 29964 w 30794"/>
                                <a:gd name="connsiteY5" fmla="*/ 23015 h 29750"/>
                                <a:gd name="connsiteX6" fmla="*/ 29011 w 30794"/>
                                <a:gd name="connsiteY6" fmla="*/ 28921 h 29750"/>
                                <a:gd name="connsiteX7" fmla="*/ 24534 w 30794"/>
                                <a:gd name="connsiteY7" fmla="*/ 29397 h 29750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  <a:cxn ang="0">
                                  <a:pos x="connsiteX6" y="connsiteY6"/>
                                </a:cxn>
                                <a:cxn ang="0">
                                  <a:pos x="connsiteX7" y="connsiteY7"/>
                                </a:cxn>
                              </a:cxnLst>
                              <a:rect l="l" t="t" r="r" b="b"/>
                              <a:pathLst>
                                <a:path w="30794" h="29750">
                                  <a:moveTo>
                                    <a:pt x="24534" y="29397"/>
                                  </a:moveTo>
                                  <a:cubicBezTo>
                                    <a:pt x="23868" y="29111"/>
                                    <a:pt x="23201" y="28635"/>
                                    <a:pt x="22725" y="27968"/>
                                  </a:cubicBezTo>
                                  <a:cubicBezTo>
                                    <a:pt x="12438" y="14443"/>
                                    <a:pt x="2055" y="7775"/>
                                    <a:pt x="1960" y="7775"/>
                                  </a:cubicBezTo>
                                  <a:cubicBezTo>
                                    <a:pt x="-40" y="6442"/>
                                    <a:pt x="-612" y="3870"/>
                                    <a:pt x="722" y="1870"/>
                                  </a:cubicBezTo>
                                  <a:cubicBezTo>
                                    <a:pt x="2055" y="-35"/>
                                    <a:pt x="4913" y="-607"/>
                                    <a:pt x="6913" y="727"/>
                                  </a:cubicBezTo>
                                  <a:cubicBezTo>
                                    <a:pt x="7389" y="1012"/>
                                    <a:pt x="18629" y="8251"/>
                                    <a:pt x="29964" y="23015"/>
                                  </a:cubicBezTo>
                                  <a:cubicBezTo>
                                    <a:pt x="31392" y="24920"/>
                                    <a:pt x="30916" y="27587"/>
                                    <a:pt x="29011" y="28921"/>
                                  </a:cubicBezTo>
                                  <a:cubicBezTo>
                                    <a:pt x="27582" y="29873"/>
                                    <a:pt x="25868" y="29968"/>
                                    <a:pt x="24534" y="29397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chemeClr val="lt2"/>
                            </a:solidFill>
                            <a:ln w="9525" cap="flat">
                              <a:noFill/>
                              <a:prstDash val="solid"/>
                              <a:miter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endParaRPr lang="zh-CN" altLang="en-US"/>
                            </a:p>
                          </p:txBody>
                        </p:sp>
                      </p:grpSp>
                    </p:grpSp>
                    <p:grpSp>
                      <p:nvGrpSpPr>
                        <p:cNvPr id="417" name="组合 416"/>
                        <p:cNvGrpSpPr/>
                        <p:nvPr/>
                      </p:nvGrpSpPr>
                      <p:grpSpPr>
                        <a:xfrm>
                          <a:off x="4763261" y="4684680"/>
                          <a:ext cx="484961" cy="530928"/>
                          <a:chOff x="4763261" y="4684680"/>
                          <a:chExt cx="484961" cy="530928"/>
                        </a:xfrm>
                      </p:grpSpPr>
                      <p:sp>
                        <p:nvSpPr>
                          <p:cNvPr id="418" name="任意多边形 417"/>
                          <p:cNvSpPr/>
                          <p:nvPr/>
                        </p:nvSpPr>
                        <p:spPr>
                          <a:xfrm>
                            <a:off x="4771364" y="4684680"/>
                            <a:ext cx="476858" cy="530928"/>
                          </a:xfrm>
                          <a:custGeom>
                            <a:avLst/>
                            <a:gdLst>
                              <a:gd name="connsiteX0" fmla="*/ 463194 w 476858"/>
                              <a:gd name="connsiteY0" fmla="*/ 0 h 530928"/>
                              <a:gd name="connsiteX1" fmla="*/ 247452 w 476858"/>
                              <a:gd name="connsiteY1" fmla="*/ 8573 h 530928"/>
                              <a:gd name="connsiteX2" fmla="*/ 86289 w 476858"/>
                              <a:gd name="connsiteY2" fmla="*/ 11906 h 530928"/>
                              <a:gd name="connsiteX3" fmla="*/ 279 w 476858"/>
                              <a:gd name="connsiteY3" fmla="*/ 87249 h 530928"/>
                              <a:gd name="connsiteX4" fmla="*/ 16090 w 476858"/>
                              <a:gd name="connsiteY4" fmla="*/ 530924 h 530928"/>
                              <a:gd name="connsiteX5" fmla="*/ 157346 w 476858"/>
                              <a:gd name="connsiteY5" fmla="*/ 530924 h 530928"/>
                              <a:gd name="connsiteX6" fmla="*/ 170776 w 476858"/>
                              <a:gd name="connsiteY6" fmla="*/ 202692 h 530928"/>
                              <a:gd name="connsiteX7" fmla="*/ 274218 w 476858"/>
                              <a:gd name="connsiteY7" fmla="*/ 213932 h 530928"/>
                              <a:gd name="connsiteX8" fmla="*/ 396995 w 476858"/>
                              <a:gd name="connsiteY8" fmla="*/ 207454 h 530928"/>
                              <a:gd name="connsiteX9" fmla="*/ 463194 w 476858"/>
                              <a:gd name="connsiteY9" fmla="*/ 0 h 530928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  <a:cxn ang="0">
                                <a:pos x="connsiteX5" y="connsiteY5"/>
                              </a:cxn>
                              <a:cxn ang="0">
                                <a:pos x="connsiteX6" y="connsiteY6"/>
                              </a:cxn>
                              <a:cxn ang="0">
                                <a:pos x="connsiteX7" y="connsiteY7"/>
                              </a:cxn>
                              <a:cxn ang="0">
                                <a:pos x="connsiteX8" y="connsiteY8"/>
                              </a:cxn>
                              <a:cxn ang="0">
                                <a:pos x="connsiteX9" y="connsiteY9"/>
                              </a:cxn>
                            </a:cxnLst>
                            <a:rect l="l" t="t" r="r" b="b"/>
                            <a:pathLst>
                              <a:path w="476858" h="530928">
                                <a:moveTo>
                                  <a:pt x="463194" y="0"/>
                                </a:moveTo>
                                <a:lnTo>
                                  <a:pt x="247452" y="8573"/>
                                </a:lnTo>
                                <a:lnTo>
                                  <a:pt x="86289" y="11906"/>
                                </a:lnTo>
                                <a:cubicBezTo>
                                  <a:pt x="39236" y="11906"/>
                                  <a:pt x="945" y="40291"/>
                                  <a:pt x="279" y="87249"/>
                                </a:cubicBezTo>
                                <a:cubicBezTo>
                                  <a:pt x="-1912" y="231839"/>
                                  <a:pt x="9327" y="532257"/>
                                  <a:pt x="16090" y="530924"/>
                                </a:cubicBezTo>
                                <a:cubicBezTo>
                                  <a:pt x="25234" y="529114"/>
                                  <a:pt x="157346" y="530924"/>
                                  <a:pt x="157346" y="530924"/>
                                </a:cubicBezTo>
                                <a:lnTo>
                                  <a:pt x="170776" y="202692"/>
                                </a:lnTo>
                                <a:lnTo>
                                  <a:pt x="274218" y="213932"/>
                                </a:lnTo>
                                <a:cubicBezTo>
                                  <a:pt x="299745" y="214122"/>
                                  <a:pt x="374230" y="218980"/>
                                  <a:pt x="396995" y="207454"/>
                                </a:cubicBezTo>
                                <a:cubicBezTo>
                                  <a:pt x="444144" y="183547"/>
                                  <a:pt x="504246" y="127635"/>
                                  <a:pt x="463194" y="0"/>
                                </a:cubicBezTo>
                                <a:close/>
                              </a:path>
                            </a:pathLst>
                          </a:custGeom>
                          <a:solidFill>
                            <a:srgbClr val="0086FF"/>
                          </a:solidFill>
                          <a:ln w="9525" cap="flat">
                            <a:noFill/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zh-CN" altLang="en-US"/>
                          </a:p>
                        </p:txBody>
                      </p:sp>
                      <p:sp>
                        <p:nvSpPr>
                          <p:cNvPr id="419" name="任意多边形 418"/>
                          <p:cNvSpPr/>
                          <p:nvPr/>
                        </p:nvSpPr>
                        <p:spPr>
                          <a:xfrm>
                            <a:off x="4763261" y="5148928"/>
                            <a:ext cx="180879" cy="66675"/>
                          </a:xfrm>
                          <a:custGeom>
                            <a:avLst/>
                            <a:gdLst>
                              <a:gd name="connsiteX0" fmla="*/ 0 w 180879"/>
                              <a:gd name="connsiteY0" fmla="*/ 0 h 66675"/>
                              <a:gd name="connsiteX1" fmla="*/ 180880 w 180879"/>
                              <a:gd name="connsiteY1" fmla="*/ 0 h 66675"/>
                              <a:gd name="connsiteX2" fmla="*/ 180880 w 180879"/>
                              <a:gd name="connsiteY2" fmla="*/ 66675 h 66675"/>
                              <a:gd name="connsiteX3" fmla="*/ 0 w 180879"/>
                              <a:gd name="connsiteY3" fmla="*/ 66675 h 66675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</a:cxnLst>
                            <a:rect l="l" t="t" r="r" b="b"/>
                            <a:pathLst>
                              <a:path w="180879" h="66675">
                                <a:moveTo>
                                  <a:pt x="0" y="0"/>
                                </a:moveTo>
                                <a:lnTo>
                                  <a:pt x="180880" y="0"/>
                                </a:lnTo>
                                <a:lnTo>
                                  <a:pt x="180880" y="66675"/>
                                </a:lnTo>
                                <a:lnTo>
                                  <a:pt x="0" y="66675"/>
                                </a:lnTo>
                                <a:close/>
                              </a:path>
                            </a:pathLst>
                          </a:custGeom>
                          <a:solidFill>
                            <a:srgbClr val="00B1FF"/>
                          </a:solidFill>
                          <a:ln w="9525" cap="flat">
                            <a:noFill/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zh-CN" altLang="en-US"/>
                          </a:p>
                        </p:txBody>
                      </p:sp>
                      <p:sp>
                        <p:nvSpPr>
                          <p:cNvPr id="420" name="任意多边形 419"/>
                          <p:cNvSpPr/>
                          <p:nvPr/>
                        </p:nvSpPr>
                        <p:spPr>
                          <a:xfrm>
                            <a:off x="4939569" y="4813839"/>
                            <a:ext cx="2571" cy="73437"/>
                          </a:xfrm>
                          <a:custGeom>
                            <a:avLst/>
                            <a:gdLst>
                              <a:gd name="connsiteX0" fmla="*/ 2572 w 2571"/>
                              <a:gd name="connsiteY0" fmla="*/ 73438 h 73437"/>
                              <a:gd name="connsiteX1" fmla="*/ 0 w 2571"/>
                              <a:gd name="connsiteY1" fmla="*/ 0 h 73437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</a:cxnLst>
                            <a:rect l="l" t="t" r="r" b="b"/>
                            <a:pathLst>
                              <a:path w="2571" h="73437">
                                <a:moveTo>
                                  <a:pt x="2572" y="73438"/>
                                </a:moveTo>
                                <a:lnTo>
                                  <a:pt x="0" y="0"/>
                                </a:lnTo>
                              </a:path>
                            </a:pathLst>
                          </a:custGeom>
                          <a:ln w="8038" cap="flat">
                            <a:solidFill>
                              <a:srgbClr val="55382C"/>
                            </a:solidFill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zh-CN" altLang="en-US"/>
                          </a:p>
                        </p:txBody>
                      </p:sp>
                    </p:grpSp>
                  </p:grpSp>
                </p:grpSp>
                <p:grpSp>
                  <p:nvGrpSpPr>
                    <p:cNvPr id="379" name="组合 378"/>
                    <p:cNvGrpSpPr/>
                    <p:nvPr/>
                  </p:nvGrpSpPr>
                  <p:grpSpPr>
                    <a:xfrm>
                      <a:off x="4401666" y="4241862"/>
                      <a:ext cx="832987" cy="469602"/>
                      <a:chOff x="4401666" y="4241862"/>
                      <a:chExt cx="832987" cy="469602"/>
                    </a:xfrm>
                  </p:grpSpPr>
                  <p:grpSp>
                    <p:nvGrpSpPr>
                      <p:cNvPr id="401" name="组合 400"/>
                      <p:cNvGrpSpPr/>
                      <p:nvPr/>
                    </p:nvGrpSpPr>
                    <p:grpSpPr>
                      <a:xfrm>
                        <a:off x="4401666" y="4316158"/>
                        <a:ext cx="577907" cy="299275"/>
                        <a:chOff x="4401666" y="4316158"/>
                        <a:chExt cx="577907" cy="299275"/>
                      </a:xfrm>
                    </p:grpSpPr>
                    <p:sp>
                      <p:nvSpPr>
                        <p:cNvPr id="412" name="任意多边形 411"/>
                        <p:cNvSpPr/>
                        <p:nvPr/>
                      </p:nvSpPr>
                      <p:spPr>
                        <a:xfrm>
                          <a:off x="4401666" y="4383463"/>
                          <a:ext cx="206909" cy="82112"/>
                        </a:xfrm>
                        <a:custGeom>
                          <a:avLst/>
                          <a:gdLst>
                            <a:gd name="connsiteX0" fmla="*/ 206909 w 206909"/>
                            <a:gd name="connsiteY0" fmla="*/ 44804 h 82112"/>
                            <a:gd name="connsiteX1" fmla="*/ 120232 w 206909"/>
                            <a:gd name="connsiteY1" fmla="*/ 1465 h 82112"/>
                            <a:gd name="connsiteX2" fmla="*/ 6503 w 206909"/>
                            <a:gd name="connsiteY2" fmla="*/ 5561 h 82112"/>
                            <a:gd name="connsiteX3" fmla="*/ 217 w 206909"/>
                            <a:gd name="connsiteY3" fmla="*/ 15467 h 82112"/>
                            <a:gd name="connsiteX4" fmla="*/ 217 w 206909"/>
                            <a:gd name="connsiteY4" fmla="*/ 15467 h 82112"/>
                            <a:gd name="connsiteX5" fmla="*/ 8980 w 206909"/>
                            <a:gd name="connsiteY5" fmla="*/ 21658 h 82112"/>
                            <a:gd name="connsiteX6" fmla="*/ 48699 w 206909"/>
                            <a:gd name="connsiteY6" fmla="*/ 17277 h 82112"/>
                            <a:gd name="connsiteX7" fmla="*/ 27363 w 206909"/>
                            <a:gd name="connsiteY7" fmla="*/ 31850 h 82112"/>
                            <a:gd name="connsiteX8" fmla="*/ 28506 w 206909"/>
                            <a:gd name="connsiteY8" fmla="*/ 47566 h 82112"/>
                            <a:gd name="connsiteX9" fmla="*/ 28506 w 206909"/>
                            <a:gd name="connsiteY9" fmla="*/ 47566 h 82112"/>
                            <a:gd name="connsiteX10" fmla="*/ 36793 w 206909"/>
                            <a:gd name="connsiteY10" fmla="*/ 47376 h 82112"/>
                            <a:gd name="connsiteX11" fmla="*/ 122422 w 206909"/>
                            <a:gd name="connsiteY11" fmla="*/ 44137 h 82112"/>
                            <a:gd name="connsiteX12" fmla="*/ 88513 w 206909"/>
                            <a:gd name="connsiteY12" fmla="*/ 59377 h 82112"/>
                            <a:gd name="connsiteX13" fmla="*/ 84989 w 206909"/>
                            <a:gd name="connsiteY13" fmla="*/ 76427 h 82112"/>
                            <a:gd name="connsiteX14" fmla="*/ 84989 w 206909"/>
                            <a:gd name="connsiteY14" fmla="*/ 76427 h 82112"/>
                            <a:gd name="connsiteX15" fmla="*/ 94324 w 206909"/>
                            <a:gd name="connsiteY15" fmla="*/ 79856 h 82112"/>
                            <a:gd name="connsiteX16" fmla="*/ 125947 w 206909"/>
                            <a:gd name="connsiteY16" fmla="*/ 75760 h 82112"/>
                            <a:gd name="connsiteX17" fmla="*/ 197480 w 206909"/>
                            <a:gd name="connsiteY17" fmla="*/ 74427 h 82112"/>
                            <a:gd name="connsiteX18" fmla="*/ 206909 w 206909"/>
                            <a:gd name="connsiteY18" fmla="*/ 44804 h 82112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</a:cxnLst>
                          <a:rect l="l" t="t" r="r" b="b"/>
                          <a:pathLst>
                            <a:path w="206909" h="82112">
                              <a:moveTo>
                                <a:pt x="206909" y="44804"/>
                              </a:moveTo>
                              <a:lnTo>
                                <a:pt x="120232" y="1465"/>
                              </a:lnTo>
                              <a:cubicBezTo>
                                <a:pt x="120232" y="1465"/>
                                <a:pt x="49461" y="-3774"/>
                                <a:pt x="6503" y="5561"/>
                              </a:cubicBezTo>
                              <a:cubicBezTo>
                                <a:pt x="2026" y="6514"/>
                                <a:pt x="-831" y="10990"/>
                                <a:pt x="217" y="15467"/>
                              </a:cubicBezTo>
                              <a:lnTo>
                                <a:pt x="217" y="15467"/>
                              </a:lnTo>
                              <a:cubicBezTo>
                                <a:pt x="1169" y="19467"/>
                                <a:pt x="4884" y="22039"/>
                                <a:pt x="8980" y="21658"/>
                              </a:cubicBezTo>
                              <a:lnTo>
                                <a:pt x="48699" y="17277"/>
                              </a:lnTo>
                              <a:lnTo>
                                <a:pt x="27363" y="31850"/>
                              </a:lnTo>
                              <a:cubicBezTo>
                                <a:pt x="21553" y="35755"/>
                                <a:pt x="22219" y="44518"/>
                                <a:pt x="28506" y="47566"/>
                              </a:cubicBezTo>
                              <a:lnTo>
                                <a:pt x="28506" y="47566"/>
                              </a:lnTo>
                              <a:cubicBezTo>
                                <a:pt x="31173" y="48804"/>
                                <a:pt x="34221" y="48804"/>
                                <a:pt x="36793" y="47376"/>
                              </a:cubicBezTo>
                              <a:cubicBezTo>
                                <a:pt x="48699" y="40803"/>
                                <a:pt x="86037" y="23658"/>
                                <a:pt x="122422" y="44137"/>
                              </a:cubicBezTo>
                              <a:lnTo>
                                <a:pt x="88513" y="59377"/>
                              </a:lnTo>
                              <a:cubicBezTo>
                                <a:pt x="81846" y="62425"/>
                                <a:pt x="80036" y="70998"/>
                                <a:pt x="84989" y="76427"/>
                              </a:cubicBezTo>
                              <a:lnTo>
                                <a:pt x="84989" y="76427"/>
                              </a:lnTo>
                              <a:cubicBezTo>
                                <a:pt x="87370" y="78999"/>
                                <a:pt x="90895" y="80332"/>
                                <a:pt x="94324" y="79856"/>
                              </a:cubicBezTo>
                              <a:lnTo>
                                <a:pt x="125947" y="75760"/>
                              </a:lnTo>
                              <a:cubicBezTo>
                                <a:pt x="125947" y="75760"/>
                                <a:pt x="163094" y="90905"/>
                                <a:pt x="197480" y="74427"/>
                              </a:cubicBezTo>
                              <a:lnTo>
                                <a:pt x="206909" y="44804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FC9BD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zh-CN" altLang="en-US"/>
                        </a:p>
                      </p:txBody>
                    </p:sp>
                    <p:sp>
                      <p:nvSpPr>
                        <p:cNvPr id="413" name="任意多边形 412"/>
                        <p:cNvSpPr/>
                        <p:nvPr/>
                      </p:nvSpPr>
                      <p:spPr>
                        <a:xfrm>
                          <a:off x="4579143" y="4316158"/>
                          <a:ext cx="400430" cy="299275"/>
                        </a:xfrm>
                        <a:custGeom>
                          <a:avLst/>
                          <a:gdLst>
                            <a:gd name="connsiteX0" fmla="*/ 312420 w 400430"/>
                            <a:gd name="connsiteY0" fmla="*/ 0 h 299275"/>
                            <a:gd name="connsiteX1" fmla="*/ 245650 w 400430"/>
                            <a:gd name="connsiteY1" fmla="*/ 201263 h 299275"/>
                            <a:gd name="connsiteX2" fmla="*/ 28670 w 400430"/>
                            <a:gd name="connsiteY2" fmla="*/ 99060 h 299275"/>
                            <a:gd name="connsiteX3" fmla="*/ 0 w 400430"/>
                            <a:gd name="connsiteY3" fmla="*/ 173545 h 299275"/>
                            <a:gd name="connsiteX4" fmla="*/ 184118 w 400430"/>
                            <a:gd name="connsiteY4" fmla="*/ 299275 h 299275"/>
                            <a:gd name="connsiteX5" fmla="*/ 385477 w 400430"/>
                            <a:gd name="connsiteY5" fmla="*/ 290893 h 299275"/>
                            <a:gd name="connsiteX6" fmla="*/ 400431 w 400430"/>
                            <a:gd name="connsiteY6" fmla="*/ 133350 h 299275"/>
                            <a:gd name="connsiteX7" fmla="*/ 312420 w 400430"/>
                            <a:gd name="connsiteY7" fmla="*/ 0 h 29927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</a:cxnLst>
                          <a:rect l="l" t="t" r="r" b="b"/>
                          <a:pathLst>
                            <a:path w="400430" h="299275">
                              <a:moveTo>
                                <a:pt x="312420" y="0"/>
                              </a:moveTo>
                              <a:cubicBezTo>
                                <a:pt x="284988" y="67246"/>
                                <a:pt x="245650" y="201263"/>
                                <a:pt x="245650" y="201263"/>
                              </a:cubicBezTo>
                              <a:lnTo>
                                <a:pt x="28670" y="99060"/>
                              </a:lnTo>
                              <a:lnTo>
                                <a:pt x="0" y="173545"/>
                              </a:lnTo>
                              <a:lnTo>
                                <a:pt x="184118" y="299275"/>
                              </a:lnTo>
                              <a:lnTo>
                                <a:pt x="385477" y="290893"/>
                              </a:lnTo>
                              <a:lnTo>
                                <a:pt x="400431" y="133350"/>
                              </a:lnTo>
                              <a:lnTo>
                                <a:pt x="312420" y="0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F9184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zh-CN" altLang="en-US"/>
                        </a:p>
                      </p:txBody>
                    </p:sp>
                  </p:grpSp>
                  <p:grpSp>
                    <p:nvGrpSpPr>
                      <p:cNvPr id="402" name="组合 401"/>
                      <p:cNvGrpSpPr/>
                      <p:nvPr/>
                    </p:nvGrpSpPr>
                    <p:grpSpPr>
                      <a:xfrm>
                        <a:off x="4878609" y="4241862"/>
                        <a:ext cx="356044" cy="469602"/>
                        <a:chOff x="4878609" y="4241862"/>
                        <a:chExt cx="356044" cy="469602"/>
                      </a:xfrm>
                      <a:solidFill>
                        <a:srgbClr val="FF9184"/>
                      </a:solidFill>
                    </p:grpSpPr>
                    <p:sp>
                      <p:nvSpPr>
                        <p:cNvPr id="410" name="任意多边形 409"/>
                        <p:cNvSpPr/>
                        <p:nvPr/>
                      </p:nvSpPr>
                      <p:spPr>
                        <a:xfrm>
                          <a:off x="4878609" y="4241862"/>
                          <a:ext cx="356044" cy="469602"/>
                        </a:xfrm>
                        <a:custGeom>
                          <a:avLst/>
                          <a:gdLst>
                            <a:gd name="connsiteX0" fmla="*/ 49244 w 356044"/>
                            <a:gd name="connsiteY0" fmla="*/ 30385 h 469602"/>
                            <a:gd name="connsiteX1" fmla="*/ 13049 w 356044"/>
                            <a:gd name="connsiteY1" fmla="*/ 74200 h 469602"/>
                            <a:gd name="connsiteX2" fmla="*/ 0 w 356044"/>
                            <a:gd name="connsiteY2" fmla="*/ 450056 h 469602"/>
                            <a:gd name="connsiteX3" fmla="*/ 356045 w 356044"/>
                            <a:gd name="connsiteY3" fmla="*/ 442627 h 469602"/>
                            <a:gd name="connsiteX4" fmla="*/ 281178 w 356044"/>
                            <a:gd name="connsiteY4" fmla="*/ 44482 h 469602"/>
                            <a:gd name="connsiteX5" fmla="*/ 144304 w 356044"/>
                            <a:gd name="connsiteY5" fmla="*/ 0 h 469602"/>
                            <a:gd name="connsiteX6" fmla="*/ 49244 w 356044"/>
                            <a:gd name="connsiteY6" fmla="*/ 30385 h 469602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356044" h="469602">
                              <a:moveTo>
                                <a:pt x="49244" y="30385"/>
                              </a:moveTo>
                              <a:cubicBezTo>
                                <a:pt x="34671" y="41338"/>
                                <a:pt x="20955" y="55817"/>
                                <a:pt x="13049" y="74200"/>
                              </a:cubicBezTo>
                              <a:lnTo>
                                <a:pt x="0" y="450056"/>
                              </a:lnTo>
                              <a:cubicBezTo>
                                <a:pt x="0" y="450056"/>
                                <a:pt x="230696" y="498634"/>
                                <a:pt x="356045" y="442627"/>
                              </a:cubicBezTo>
                              <a:cubicBezTo>
                                <a:pt x="356045" y="442627"/>
                                <a:pt x="352520" y="127826"/>
                                <a:pt x="281178" y="44482"/>
                              </a:cubicBezTo>
                              <a:cubicBezTo>
                                <a:pt x="281178" y="44482"/>
                                <a:pt x="258699" y="190"/>
                                <a:pt x="144304" y="0"/>
                              </a:cubicBezTo>
                              <a:cubicBezTo>
                                <a:pt x="110109" y="95"/>
                                <a:pt x="76391" y="9906"/>
                                <a:pt x="49244" y="30385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9184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zh-CN" altLang="en-US"/>
                        </a:p>
                      </p:txBody>
                    </p:sp>
                    <p:sp>
                      <p:nvSpPr>
                        <p:cNvPr id="411" name="任意多边形 410"/>
                        <p:cNvSpPr/>
                        <p:nvPr/>
                      </p:nvSpPr>
                      <p:spPr>
                        <a:xfrm>
                          <a:off x="4907565" y="4383404"/>
                          <a:ext cx="16573" cy="263937"/>
                        </a:xfrm>
                        <a:custGeom>
                          <a:avLst/>
                          <a:gdLst>
                            <a:gd name="connsiteX0" fmla="*/ 0 w 16573"/>
                            <a:gd name="connsiteY0" fmla="*/ 0 h 263937"/>
                            <a:gd name="connsiteX1" fmla="*/ 16574 w 16573"/>
                            <a:gd name="connsiteY1" fmla="*/ 263938 h 26393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</a:cxnLst>
                          <a:rect l="l" t="t" r="r" b="b"/>
                          <a:pathLst>
                            <a:path w="16573" h="263937">
                              <a:moveTo>
                                <a:pt x="0" y="0"/>
                              </a:moveTo>
                              <a:lnTo>
                                <a:pt x="16574" y="263938"/>
                              </a:lnTo>
                            </a:path>
                          </a:pathLst>
                        </a:custGeom>
                        <a:ln w="7000" cap="flat">
                          <a:solidFill>
                            <a:srgbClr val="FF6C63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zh-CN" altLang="en-US"/>
                        </a:p>
                      </p:txBody>
                    </p:sp>
                  </p:grpSp>
                  <p:grpSp>
                    <p:nvGrpSpPr>
                      <p:cNvPr id="403" name="组合 402"/>
                      <p:cNvGrpSpPr/>
                      <p:nvPr/>
                    </p:nvGrpSpPr>
                    <p:grpSpPr>
                      <a:xfrm>
                        <a:off x="4588459" y="4304442"/>
                        <a:ext cx="579995" cy="387667"/>
                        <a:chOff x="4588459" y="4304442"/>
                        <a:chExt cx="579995" cy="387667"/>
                      </a:xfrm>
                    </p:grpSpPr>
                    <p:sp>
                      <p:nvSpPr>
                        <p:cNvPr id="404" name="任意多边形 403"/>
                        <p:cNvSpPr/>
                        <p:nvPr/>
                      </p:nvSpPr>
                      <p:spPr>
                        <a:xfrm>
                          <a:off x="4588459" y="4487497"/>
                          <a:ext cx="106507" cy="159845"/>
                        </a:xfrm>
                        <a:custGeom>
                          <a:avLst/>
                          <a:gdLst>
                            <a:gd name="connsiteX0" fmla="*/ 95935 w 106507"/>
                            <a:gd name="connsiteY0" fmla="*/ 113935 h 159845"/>
                            <a:gd name="connsiteX1" fmla="*/ 92792 w 106507"/>
                            <a:gd name="connsiteY1" fmla="*/ 49165 h 159845"/>
                            <a:gd name="connsiteX2" fmla="*/ 48405 w 106507"/>
                            <a:gd name="connsiteY2" fmla="*/ 16 h 159845"/>
                            <a:gd name="connsiteX3" fmla="*/ 2876 w 106507"/>
                            <a:gd name="connsiteY3" fmla="*/ 21066 h 159845"/>
                            <a:gd name="connsiteX4" fmla="*/ 5543 w 106507"/>
                            <a:gd name="connsiteY4" fmla="*/ 37258 h 159845"/>
                            <a:gd name="connsiteX5" fmla="*/ 38880 w 106507"/>
                            <a:gd name="connsiteY5" fmla="*/ 62785 h 159845"/>
                            <a:gd name="connsiteX6" fmla="*/ 45929 w 106507"/>
                            <a:gd name="connsiteY6" fmla="*/ 136604 h 159845"/>
                            <a:gd name="connsiteX7" fmla="*/ 106508 w 106507"/>
                            <a:gd name="connsiteY7" fmla="*/ 159845 h 159845"/>
                            <a:gd name="connsiteX8" fmla="*/ 95935 w 106507"/>
                            <a:gd name="connsiteY8" fmla="*/ 113935 h 15984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06507" h="159845">
                              <a:moveTo>
                                <a:pt x="95935" y="113935"/>
                              </a:moveTo>
                              <a:lnTo>
                                <a:pt x="92792" y="49165"/>
                              </a:lnTo>
                              <a:cubicBezTo>
                                <a:pt x="92792" y="49165"/>
                                <a:pt x="69551" y="682"/>
                                <a:pt x="48405" y="16"/>
                              </a:cubicBezTo>
                              <a:cubicBezTo>
                                <a:pt x="32879" y="-461"/>
                                <a:pt x="13258" y="10017"/>
                                <a:pt x="2876" y="21066"/>
                              </a:cubicBezTo>
                              <a:cubicBezTo>
                                <a:pt x="-1887" y="26114"/>
                                <a:pt x="-553" y="34210"/>
                                <a:pt x="5543" y="37258"/>
                              </a:cubicBezTo>
                              <a:cubicBezTo>
                                <a:pt x="15639" y="42402"/>
                                <a:pt x="30974" y="51451"/>
                                <a:pt x="38880" y="62785"/>
                              </a:cubicBezTo>
                              <a:cubicBezTo>
                                <a:pt x="38880" y="62785"/>
                                <a:pt x="28593" y="115078"/>
                                <a:pt x="45929" y="136604"/>
                              </a:cubicBezTo>
                              <a:cubicBezTo>
                                <a:pt x="54692" y="147558"/>
                                <a:pt x="106508" y="159845"/>
                                <a:pt x="106508" y="159845"/>
                              </a:cubicBezTo>
                              <a:lnTo>
                                <a:pt x="95935" y="113935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FC9BD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zh-CN" altLang="en-US"/>
                        </a:p>
                      </p:txBody>
                    </p:sp>
                    <p:grpSp>
                      <p:nvGrpSpPr>
                        <p:cNvPr id="405" name="组合 404"/>
                        <p:cNvGrpSpPr/>
                        <p:nvPr/>
                      </p:nvGrpSpPr>
                      <p:grpSpPr>
                        <a:xfrm>
                          <a:off x="4682584" y="4304442"/>
                          <a:ext cx="485870" cy="387667"/>
                          <a:chOff x="4682584" y="4304442"/>
                          <a:chExt cx="485870" cy="387667"/>
                        </a:xfrm>
                      </p:grpSpPr>
                      <p:sp>
                        <p:nvSpPr>
                          <p:cNvPr id="406" name="任意多边形 405"/>
                          <p:cNvSpPr/>
                          <p:nvPr/>
                        </p:nvSpPr>
                        <p:spPr>
                          <a:xfrm>
                            <a:off x="4682584" y="4304442"/>
                            <a:ext cx="485870" cy="387667"/>
                          </a:xfrm>
                          <a:custGeom>
                            <a:avLst/>
                            <a:gdLst>
                              <a:gd name="connsiteX0" fmla="*/ 354235 w 485870"/>
                              <a:gd name="connsiteY0" fmla="*/ 0 h 387667"/>
                              <a:gd name="connsiteX1" fmla="*/ 312610 w 485870"/>
                              <a:gd name="connsiteY1" fmla="*/ 263557 h 387667"/>
                              <a:gd name="connsiteX2" fmla="*/ 0 w 485870"/>
                              <a:gd name="connsiteY2" fmla="*/ 277082 h 387667"/>
                              <a:gd name="connsiteX3" fmla="*/ 0 w 485870"/>
                              <a:gd name="connsiteY3" fmla="*/ 387667 h 387667"/>
                              <a:gd name="connsiteX4" fmla="*/ 336233 w 485870"/>
                              <a:gd name="connsiteY4" fmla="*/ 379571 h 387667"/>
                              <a:gd name="connsiteX5" fmla="*/ 365760 w 485870"/>
                              <a:gd name="connsiteY5" fmla="*/ 368998 h 387667"/>
                              <a:gd name="connsiteX6" fmla="*/ 369189 w 485870"/>
                              <a:gd name="connsiteY6" fmla="*/ 370618 h 387667"/>
                              <a:gd name="connsiteX7" fmla="*/ 485870 w 485870"/>
                              <a:gd name="connsiteY7" fmla="*/ 61246 h 387667"/>
                              <a:gd name="connsiteX8" fmla="*/ 354235 w 485870"/>
                              <a:gd name="connsiteY8" fmla="*/ 0 h 387667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  <a:cxn ang="0">
                                <a:pos x="connsiteX5" y="connsiteY5"/>
                              </a:cxn>
                              <a:cxn ang="0">
                                <a:pos x="connsiteX6" y="connsiteY6"/>
                              </a:cxn>
                              <a:cxn ang="0">
                                <a:pos x="connsiteX7" y="connsiteY7"/>
                              </a:cxn>
                              <a:cxn ang="0">
                                <a:pos x="connsiteX8" y="connsiteY8"/>
                              </a:cxn>
                            </a:cxnLst>
                            <a:rect l="l" t="t" r="r" b="b"/>
                            <a:pathLst>
                              <a:path w="485870" h="387667">
                                <a:moveTo>
                                  <a:pt x="354235" y="0"/>
                                </a:moveTo>
                                <a:lnTo>
                                  <a:pt x="312610" y="263557"/>
                                </a:lnTo>
                                <a:lnTo>
                                  <a:pt x="0" y="277082"/>
                                </a:lnTo>
                                <a:lnTo>
                                  <a:pt x="0" y="387667"/>
                                </a:lnTo>
                                <a:lnTo>
                                  <a:pt x="336233" y="379571"/>
                                </a:lnTo>
                                <a:cubicBezTo>
                                  <a:pt x="349091" y="380333"/>
                                  <a:pt x="358807" y="376238"/>
                                  <a:pt x="365760" y="368998"/>
                                </a:cubicBezTo>
                                <a:lnTo>
                                  <a:pt x="369189" y="370618"/>
                                </a:lnTo>
                                <a:cubicBezTo>
                                  <a:pt x="369189" y="370618"/>
                                  <a:pt x="460248" y="372142"/>
                                  <a:pt x="485870" y="61246"/>
                                </a:cubicBezTo>
                                <a:lnTo>
                                  <a:pt x="354235" y="0"/>
                                </a:lnTo>
                                <a:close/>
                              </a:path>
                            </a:pathLst>
                          </a:custGeom>
                          <a:solidFill>
                            <a:srgbClr val="FF9184"/>
                          </a:solidFill>
                          <a:ln w="9525" cap="flat">
                            <a:noFill/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zh-CN" altLang="en-US"/>
                          </a:p>
                        </p:txBody>
                      </p:sp>
                      <p:sp>
                        <p:nvSpPr>
                          <p:cNvPr id="407" name="任意多边形 406"/>
                          <p:cNvSpPr/>
                          <p:nvPr/>
                        </p:nvSpPr>
                        <p:spPr>
                          <a:xfrm>
                            <a:off x="4711731" y="4353686"/>
                            <a:ext cx="317277" cy="226504"/>
                          </a:xfrm>
                          <a:custGeom>
                            <a:avLst/>
                            <a:gdLst>
                              <a:gd name="connsiteX0" fmla="*/ 0 w 317277"/>
                              <a:gd name="connsiteY0" fmla="*/ 226504 h 226504"/>
                              <a:gd name="connsiteX1" fmla="*/ 283559 w 317277"/>
                              <a:gd name="connsiteY1" fmla="*/ 213741 h 226504"/>
                              <a:gd name="connsiteX2" fmla="*/ 317278 w 317277"/>
                              <a:gd name="connsiteY2" fmla="*/ 0 h 226504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</a:cxnLst>
                            <a:rect l="l" t="t" r="r" b="b"/>
                            <a:pathLst>
                              <a:path w="317277" h="226504">
                                <a:moveTo>
                                  <a:pt x="0" y="226504"/>
                                </a:moveTo>
                                <a:lnTo>
                                  <a:pt x="283559" y="213741"/>
                                </a:lnTo>
                                <a:lnTo>
                                  <a:pt x="317278" y="0"/>
                                </a:lnTo>
                              </a:path>
                            </a:pathLst>
                          </a:custGeom>
                          <a:noFill/>
                          <a:ln w="7000" cap="flat">
                            <a:solidFill>
                              <a:srgbClr val="FF6C63"/>
                            </a:solidFill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zh-CN" altLang="en-US"/>
                          </a:p>
                        </p:txBody>
                      </p:sp>
                      <p:sp>
                        <p:nvSpPr>
                          <p:cNvPr id="408" name="任意多边形 407"/>
                          <p:cNvSpPr/>
                          <p:nvPr/>
                        </p:nvSpPr>
                        <p:spPr>
                          <a:xfrm>
                            <a:off x="4995290" y="4567427"/>
                            <a:ext cx="43243" cy="12763"/>
                          </a:xfrm>
                          <a:custGeom>
                            <a:avLst/>
                            <a:gdLst>
                              <a:gd name="connsiteX0" fmla="*/ 0 w 43243"/>
                              <a:gd name="connsiteY0" fmla="*/ 0 h 12763"/>
                              <a:gd name="connsiteX1" fmla="*/ 43243 w 43243"/>
                              <a:gd name="connsiteY1" fmla="*/ 12763 h 12763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</a:cxnLst>
                            <a:rect l="l" t="t" r="r" b="b"/>
                            <a:pathLst>
                              <a:path w="43243" h="12763">
                                <a:moveTo>
                                  <a:pt x="0" y="0"/>
                                </a:moveTo>
                                <a:lnTo>
                                  <a:pt x="43243" y="12763"/>
                                </a:lnTo>
                              </a:path>
                            </a:pathLst>
                          </a:custGeom>
                          <a:ln w="7000" cap="flat">
                            <a:solidFill>
                              <a:srgbClr val="FF6C63"/>
                            </a:solidFill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zh-CN" altLang="en-US"/>
                          </a:p>
                        </p:txBody>
                      </p:sp>
                      <p:sp>
                        <p:nvSpPr>
                          <p:cNvPr id="409" name="任意多边形 408"/>
                          <p:cNvSpPr/>
                          <p:nvPr/>
                        </p:nvSpPr>
                        <p:spPr>
                          <a:xfrm>
                            <a:off x="5061679" y="4448841"/>
                            <a:ext cx="100393" cy="242696"/>
                          </a:xfrm>
                          <a:custGeom>
                            <a:avLst/>
                            <a:gdLst>
                              <a:gd name="connsiteX0" fmla="*/ 100393 w 100393"/>
                              <a:gd name="connsiteY0" fmla="*/ 0 h 242696"/>
                              <a:gd name="connsiteX1" fmla="*/ 68866 w 100393"/>
                              <a:gd name="connsiteY1" fmla="*/ 140684 h 242696"/>
                              <a:gd name="connsiteX2" fmla="*/ 14097 w 100393"/>
                              <a:gd name="connsiteY2" fmla="*/ 231553 h 242696"/>
                              <a:gd name="connsiteX3" fmla="*/ 0 w 100393"/>
                              <a:gd name="connsiteY3" fmla="*/ 242697 h 242696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</a:cxnLst>
                            <a:rect l="l" t="t" r="r" b="b"/>
                            <a:pathLst>
                              <a:path w="100393" h="242696">
                                <a:moveTo>
                                  <a:pt x="100393" y="0"/>
                                </a:moveTo>
                                <a:lnTo>
                                  <a:pt x="68866" y="140684"/>
                                </a:lnTo>
                                <a:cubicBezTo>
                                  <a:pt x="60960" y="176117"/>
                                  <a:pt x="41719" y="207931"/>
                                  <a:pt x="14097" y="231553"/>
                                </a:cubicBezTo>
                                <a:lnTo>
                                  <a:pt x="0" y="242697"/>
                                </a:lnTo>
                              </a:path>
                            </a:pathLst>
                          </a:custGeom>
                          <a:noFill/>
                          <a:ln w="7000" cap="flat">
                            <a:solidFill>
                              <a:srgbClr val="FF6C63"/>
                            </a:solidFill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zh-CN" altLang="en-US"/>
                          </a:p>
                        </p:txBody>
                      </p:sp>
                    </p:grpSp>
                  </p:grpSp>
                </p:grpSp>
                <p:grpSp>
                  <p:nvGrpSpPr>
                    <p:cNvPr id="380" name="组合 379"/>
                    <p:cNvGrpSpPr/>
                    <p:nvPr/>
                  </p:nvGrpSpPr>
                  <p:grpSpPr>
                    <a:xfrm>
                      <a:off x="4846605" y="3927839"/>
                      <a:ext cx="356520" cy="371534"/>
                      <a:chOff x="4846605" y="3927839"/>
                      <a:chExt cx="356520" cy="371534"/>
                    </a:xfrm>
                  </p:grpSpPr>
                  <p:sp>
                    <p:nvSpPr>
                      <p:cNvPr id="381" name="任意多边形 380"/>
                      <p:cNvSpPr/>
                      <p:nvPr/>
                    </p:nvSpPr>
                    <p:spPr>
                      <a:xfrm>
                        <a:off x="4846605" y="3983163"/>
                        <a:ext cx="356520" cy="251655"/>
                      </a:xfrm>
                      <a:custGeom>
                        <a:avLst/>
                        <a:gdLst>
                          <a:gd name="connsiteX0" fmla="*/ 24860 w 356520"/>
                          <a:gd name="connsiteY0" fmla="*/ 18097 h 251655"/>
                          <a:gd name="connsiteX1" fmla="*/ 24860 w 356520"/>
                          <a:gd name="connsiteY1" fmla="*/ 77914 h 251655"/>
                          <a:gd name="connsiteX2" fmla="*/ 3429 w 356520"/>
                          <a:gd name="connsiteY2" fmla="*/ 170402 h 251655"/>
                          <a:gd name="connsiteX3" fmla="*/ 0 w 356520"/>
                          <a:gd name="connsiteY3" fmla="*/ 247650 h 251655"/>
                          <a:gd name="connsiteX4" fmla="*/ 356521 w 356520"/>
                          <a:gd name="connsiteY4" fmla="*/ 208979 h 251655"/>
                          <a:gd name="connsiteX5" fmla="*/ 314134 w 356520"/>
                          <a:gd name="connsiteY5" fmla="*/ 136112 h 251655"/>
                          <a:gd name="connsiteX6" fmla="*/ 283464 w 356520"/>
                          <a:gd name="connsiteY6" fmla="*/ 34862 h 251655"/>
                          <a:gd name="connsiteX7" fmla="*/ 192405 w 356520"/>
                          <a:gd name="connsiteY7" fmla="*/ 0 h 251655"/>
                          <a:gd name="connsiteX8" fmla="*/ 24860 w 356520"/>
                          <a:gd name="connsiteY8" fmla="*/ 18097 h 25165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356520" h="251655">
                            <a:moveTo>
                              <a:pt x="24860" y="18097"/>
                            </a:moveTo>
                            <a:cubicBezTo>
                              <a:pt x="24860" y="18097"/>
                              <a:pt x="32671" y="55245"/>
                              <a:pt x="24860" y="77914"/>
                            </a:cubicBezTo>
                            <a:cubicBezTo>
                              <a:pt x="17050" y="100584"/>
                              <a:pt x="-7715" y="111252"/>
                              <a:pt x="3429" y="170402"/>
                            </a:cubicBezTo>
                            <a:cubicBezTo>
                              <a:pt x="14573" y="229553"/>
                              <a:pt x="2667" y="230981"/>
                              <a:pt x="0" y="247650"/>
                            </a:cubicBezTo>
                            <a:cubicBezTo>
                              <a:pt x="0" y="247650"/>
                              <a:pt x="237554" y="270034"/>
                              <a:pt x="356521" y="208979"/>
                            </a:cubicBezTo>
                            <a:cubicBezTo>
                              <a:pt x="356521" y="208979"/>
                              <a:pt x="336423" y="174498"/>
                              <a:pt x="314134" y="136112"/>
                            </a:cubicBezTo>
                            <a:cubicBezTo>
                              <a:pt x="291846" y="97822"/>
                              <a:pt x="283464" y="34862"/>
                              <a:pt x="283464" y="34862"/>
                            </a:cubicBezTo>
                            <a:lnTo>
                              <a:pt x="192405" y="0"/>
                            </a:lnTo>
                            <a:lnTo>
                              <a:pt x="24860" y="18097"/>
                            </a:lnTo>
                            <a:close/>
                          </a:path>
                        </a:pathLst>
                      </a:custGeom>
                      <a:solidFill>
                        <a:srgbClr val="954B55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zh-CN" altLang="en-US"/>
                      </a:p>
                    </p:txBody>
                  </p:sp>
                  <p:grpSp>
                    <p:nvGrpSpPr>
                      <p:cNvPr id="382" name="组合 381"/>
                      <p:cNvGrpSpPr/>
                      <p:nvPr/>
                    </p:nvGrpSpPr>
                    <p:grpSpPr>
                      <a:xfrm>
                        <a:off x="4878273" y="3927839"/>
                        <a:ext cx="251795" cy="365521"/>
                        <a:chOff x="4878273" y="3927839"/>
                        <a:chExt cx="251795" cy="365521"/>
                      </a:xfrm>
                    </p:grpSpPr>
                    <p:sp>
                      <p:nvSpPr>
                        <p:cNvPr id="385" name="任意多边形 384"/>
                        <p:cNvSpPr/>
                        <p:nvPr/>
                      </p:nvSpPr>
                      <p:spPr>
                        <a:xfrm>
                          <a:off x="4927397" y="3927839"/>
                          <a:ext cx="202671" cy="246046"/>
                        </a:xfrm>
                        <a:custGeom>
                          <a:avLst/>
                          <a:gdLst>
                            <a:gd name="connsiteX0" fmla="*/ 456 w 202671"/>
                            <a:gd name="connsiteY0" fmla="*/ 29512 h 246046"/>
                            <a:gd name="connsiteX1" fmla="*/ 11029 w 202671"/>
                            <a:gd name="connsiteY1" fmla="*/ 12176 h 246046"/>
                            <a:gd name="connsiteX2" fmla="*/ 189527 w 202671"/>
                            <a:gd name="connsiteY2" fmla="*/ 55039 h 246046"/>
                            <a:gd name="connsiteX3" fmla="*/ 118471 w 202671"/>
                            <a:gd name="connsiteY3" fmla="*/ 243348 h 246046"/>
                            <a:gd name="connsiteX4" fmla="*/ 62369 w 202671"/>
                            <a:gd name="connsiteY4" fmla="*/ 48943 h 246046"/>
                            <a:gd name="connsiteX5" fmla="*/ 456 w 202671"/>
                            <a:gd name="connsiteY5" fmla="*/ 29512 h 246046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202671" h="246046">
                              <a:moveTo>
                                <a:pt x="456" y="29512"/>
                              </a:moveTo>
                              <a:cubicBezTo>
                                <a:pt x="-2306" y="28655"/>
                                <a:pt x="8267" y="13033"/>
                                <a:pt x="11029" y="12176"/>
                              </a:cubicBezTo>
                              <a:cubicBezTo>
                                <a:pt x="53320" y="-1349"/>
                                <a:pt x="143617" y="-19161"/>
                                <a:pt x="189527" y="55039"/>
                              </a:cubicBezTo>
                              <a:cubicBezTo>
                                <a:pt x="223246" y="109617"/>
                                <a:pt x="189432" y="212297"/>
                                <a:pt x="118471" y="243348"/>
                              </a:cubicBezTo>
                              <a:cubicBezTo>
                                <a:pt x="50939" y="272971"/>
                                <a:pt x="62369" y="48943"/>
                                <a:pt x="62369" y="48943"/>
                              </a:cubicBezTo>
                              <a:lnTo>
                                <a:pt x="456" y="29512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954B55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zh-CN" altLang="en-US"/>
                        </a:p>
                      </p:txBody>
                    </p:sp>
                    <p:sp>
                      <p:nvSpPr>
                        <p:cNvPr id="386" name="任意多边形 385"/>
                        <p:cNvSpPr/>
                        <p:nvPr/>
                      </p:nvSpPr>
                      <p:spPr>
                        <a:xfrm>
                          <a:off x="4878273" y="4066914"/>
                          <a:ext cx="67059" cy="66984"/>
                        </a:xfrm>
                        <a:custGeom>
                          <a:avLst/>
                          <a:gdLst>
                            <a:gd name="connsiteX0" fmla="*/ 66820 w 67059"/>
                            <a:gd name="connsiteY0" fmla="*/ 29406 h 66984"/>
                            <a:gd name="connsiteX1" fmla="*/ 37578 w 67059"/>
                            <a:gd name="connsiteY1" fmla="*/ 66744 h 66984"/>
                            <a:gd name="connsiteX2" fmla="*/ 240 w 67059"/>
                            <a:gd name="connsiteY2" fmla="*/ 37503 h 66984"/>
                            <a:gd name="connsiteX3" fmla="*/ 29482 w 67059"/>
                            <a:gd name="connsiteY3" fmla="*/ 260 h 66984"/>
                            <a:gd name="connsiteX4" fmla="*/ 66820 w 67059"/>
                            <a:gd name="connsiteY4" fmla="*/ 29406 h 66984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</a:cxnLst>
                          <a:rect l="l" t="t" r="r" b="b"/>
                          <a:pathLst>
                            <a:path w="67059" h="66984">
                              <a:moveTo>
                                <a:pt x="66820" y="29406"/>
                              </a:moveTo>
                              <a:cubicBezTo>
                                <a:pt x="69011" y="47790"/>
                                <a:pt x="55961" y="64458"/>
                                <a:pt x="37578" y="66744"/>
                              </a:cubicBezTo>
                              <a:cubicBezTo>
                                <a:pt x="19195" y="68935"/>
                                <a:pt x="2526" y="55886"/>
                                <a:pt x="240" y="37503"/>
                              </a:cubicBezTo>
                              <a:cubicBezTo>
                                <a:pt x="-1951" y="19119"/>
                                <a:pt x="11099" y="2451"/>
                                <a:pt x="29482" y="260"/>
                              </a:cubicBezTo>
                              <a:cubicBezTo>
                                <a:pt x="47960" y="-2026"/>
                                <a:pt x="64629" y="11023"/>
                                <a:pt x="66820" y="29406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1A7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zh-CN" altLang="en-US"/>
                        </a:p>
                      </p:txBody>
                    </p:sp>
                    <p:sp>
                      <p:nvSpPr>
                        <p:cNvPr id="387" name="任意多边形 386"/>
                        <p:cNvSpPr/>
                        <p:nvPr/>
                      </p:nvSpPr>
                      <p:spPr>
                        <a:xfrm>
                          <a:off x="4956619" y="4141660"/>
                          <a:ext cx="93725" cy="151701"/>
                        </a:xfrm>
                        <a:custGeom>
                          <a:avLst/>
                          <a:gdLst>
                            <a:gd name="connsiteX0" fmla="*/ 0 w 93725"/>
                            <a:gd name="connsiteY0" fmla="*/ 44291 h 151701"/>
                            <a:gd name="connsiteX1" fmla="*/ 8287 w 93725"/>
                            <a:gd name="connsiteY1" fmla="*/ 116872 h 151701"/>
                            <a:gd name="connsiteX2" fmla="*/ 53435 w 93725"/>
                            <a:gd name="connsiteY2" fmla="*/ 151257 h 151701"/>
                            <a:gd name="connsiteX3" fmla="*/ 53435 w 93725"/>
                            <a:gd name="connsiteY3" fmla="*/ 151257 h 151701"/>
                            <a:gd name="connsiteX4" fmla="*/ 93726 w 93725"/>
                            <a:gd name="connsiteY4" fmla="*/ 113633 h 151701"/>
                            <a:gd name="connsiteX5" fmla="*/ 75152 w 93725"/>
                            <a:gd name="connsiteY5" fmla="*/ 0 h 151701"/>
                            <a:gd name="connsiteX6" fmla="*/ 0 w 93725"/>
                            <a:gd name="connsiteY6" fmla="*/ 44291 h 15170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93725" h="151701">
                              <a:moveTo>
                                <a:pt x="0" y="44291"/>
                              </a:moveTo>
                              <a:lnTo>
                                <a:pt x="8287" y="116872"/>
                              </a:lnTo>
                              <a:cubicBezTo>
                                <a:pt x="11144" y="142399"/>
                                <a:pt x="28384" y="154210"/>
                                <a:pt x="53435" y="151257"/>
                              </a:cubicBezTo>
                              <a:lnTo>
                                <a:pt x="53435" y="151257"/>
                              </a:lnTo>
                              <a:cubicBezTo>
                                <a:pt x="74867" y="148685"/>
                                <a:pt x="93631" y="135255"/>
                                <a:pt x="93726" y="113633"/>
                              </a:cubicBezTo>
                              <a:lnTo>
                                <a:pt x="75152" y="0"/>
                              </a:lnTo>
                              <a:lnTo>
                                <a:pt x="0" y="44291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FC9BD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zh-CN" altLang="en-US"/>
                        </a:p>
                      </p:txBody>
                    </p:sp>
                    <p:sp>
                      <p:nvSpPr>
                        <p:cNvPr id="388" name="任意多边形 387"/>
                        <p:cNvSpPr/>
                        <p:nvPr/>
                      </p:nvSpPr>
                      <p:spPr>
                        <a:xfrm>
                          <a:off x="4955666" y="4153566"/>
                          <a:ext cx="83248" cy="77247"/>
                        </a:xfrm>
                        <a:custGeom>
                          <a:avLst/>
                          <a:gdLst>
                            <a:gd name="connsiteX0" fmla="*/ 6096 w 83248"/>
                            <a:gd name="connsiteY0" fmla="*/ 77248 h 77247"/>
                            <a:gd name="connsiteX1" fmla="*/ 83249 w 83248"/>
                            <a:gd name="connsiteY1" fmla="*/ 0 h 77247"/>
                            <a:gd name="connsiteX2" fmla="*/ 0 w 83248"/>
                            <a:gd name="connsiteY2" fmla="*/ 24955 h 77247"/>
                            <a:gd name="connsiteX3" fmla="*/ 6096 w 83248"/>
                            <a:gd name="connsiteY3" fmla="*/ 77248 h 7724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</a:cxnLst>
                          <a:rect l="l" t="t" r="r" b="b"/>
                          <a:pathLst>
                            <a:path w="83248" h="77247">
                              <a:moveTo>
                                <a:pt x="6096" y="77248"/>
                              </a:moveTo>
                              <a:cubicBezTo>
                                <a:pt x="57055" y="72866"/>
                                <a:pt x="83249" y="0"/>
                                <a:pt x="83249" y="0"/>
                              </a:cubicBezTo>
                              <a:lnTo>
                                <a:pt x="0" y="24955"/>
                              </a:lnTo>
                              <a:lnTo>
                                <a:pt x="6096" y="77248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1B172C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zh-CN" altLang="en-US"/>
                        </a:p>
                      </p:txBody>
                    </p:sp>
                    <p:sp>
                      <p:nvSpPr>
                        <p:cNvPr id="389" name="任意多边形 388"/>
                        <p:cNvSpPr/>
                        <p:nvPr/>
                      </p:nvSpPr>
                      <p:spPr>
                        <a:xfrm>
                          <a:off x="4889062" y="3960069"/>
                          <a:ext cx="175822" cy="236665"/>
                        </a:xfrm>
                        <a:custGeom>
                          <a:avLst/>
                          <a:gdLst>
                            <a:gd name="connsiteX0" fmla="*/ 90321 w 175822"/>
                            <a:gd name="connsiteY0" fmla="*/ 236550 h 236665"/>
                            <a:gd name="connsiteX1" fmla="*/ 90321 w 175822"/>
                            <a:gd name="connsiteY1" fmla="*/ 236550 h 236665"/>
                            <a:gd name="connsiteX2" fmla="*/ 6978 w 175822"/>
                            <a:gd name="connsiteY2" fmla="*/ 171685 h 236665"/>
                            <a:gd name="connsiteX3" fmla="*/ 310 w 175822"/>
                            <a:gd name="connsiteY3" fmla="*/ 88912 h 236665"/>
                            <a:gd name="connsiteX4" fmla="*/ 72033 w 175822"/>
                            <a:gd name="connsiteY4" fmla="*/ 616 h 236665"/>
                            <a:gd name="connsiteX5" fmla="*/ 72033 w 175822"/>
                            <a:gd name="connsiteY5" fmla="*/ 616 h 236665"/>
                            <a:gd name="connsiteX6" fmla="*/ 170903 w 175822"/>
                            <a:gd name="connsiteY6" fmla="*/ 71101 h 236665"/>
                            <a:gd name="connsiteX7" fmla="*/ 175570 w 175822"/>
                            <a:gd name="connsiteY7" fmla="*/ 137776 h 236665"/>
                            <a:gd name="connsiteX8" fmla="*/ 90321 w 175822"/>
                            <a:gd name="connsiteY8" fmla="*/ 236550 h 23666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75822" h="236665">
                              <a:moveTo>
                                <a:pt x="90321" y="236550"/>
                              </a:moveTo>
                              <a:lnTo>
                                <a:pt x="90321" y="236550"/>
                              </a:lnTo>
                              <a:cubicBezTo>
                                <a:pt x="47268" y="238836"/>
                                <a:pt x="10026" y="206737"/>
                                <a:pt x="6978" y="171685"/>
                              </a:cubicBezTo>
                              <a:lnTo>
                                <a:pt x="310" y="88912"/>
                              </a:lnTo>
                              <a:cubicBezTo>
                                <a:pt x="-3500" y="45002"/>
                                <a:pt x="28218" y="5854"/>
                                <a:pt x="72033" y="616"/>
                              </a:cubicBezTo>
                              <a:lnTo>
                                <a:pt x="72033" y="616"/>
                              </a:lnTo>
                              <a:cubicBezTo>
                                <a:pt x="116896" y="-4814"/>
                                <a:pt x="165474" y="26238"/>
                                <a:pt x="170903" y="71101"/>
                              </a:cubicBezTo>
                              <a:lnTo>
                                <a:pt x="175570" y="137776"/>
                              </a:lnTo>
                              <a:cubicBezTo>
                                <a:pt x="179094" y="189211"/>
                                <a:pt x="145471" y="232264"/>
                                <a:pt x="90321" y="236550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C9BD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zh-CN" altLang="en-US"/>
                        </a:p>
                      </p:txBody>
                    </p:sp>
                    <p:sp>
                      <p:nvSpPr>
                        <p:cNvPr id="390" name="任意多边形 389"/>
                        <p:cNvSpPr/>
                        <p:nvPr/>
                      </p:nvSpPr>
                      <p:spPr>
                        <a:xfrm>
                          <a:off x="5018217" y="4011791"/>
                          <a:ext cx="82609" cy="82529"/>
                        </a:xfrm>
                        <a:custGeom>
                          <a:avLst/>
                          <a:gdLst>
                            <a:gd name="connsiteX0" fmla="*/ 6600 w 82609"/>
                            <a:gd name="connsiteY0" fmla="*/ 8711 h 82529"/>
                            <a:gd name="connsiteX1" fmla="*/ 19554 w 82609"/>
                            <a:gd name="connsiteY1" fmla="*/ 82529 h 82529"/>
                            <a:gd name="connsiteX2" fmla="*/ 82610 w 82609"/>
                            <a:gd name="connsiteY2" fmla="*/ 6329 h 82529"/>
                            <a:gd name="connsiteX3" fmla="*/ 6600 w 82609"/>
                            <a:gd name="connsiteY3" fmla="*/ 8711 h 8252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</a:cxnLst>
                          <a:rect l="l" t="t" r="r" b="b"/>
                          <a:pathLst>
                            <a:path w="82609" h="82529">
                              <a:moveTo>
                                <a:pt x="6600" y="8711"/>
                              </a:moveTo>
                              <a:cubicBezTo>
                                <a:pt x="-13783" y="39191"/>
                                <a:pt x="19554" y="82529"/>
                                <a:pt x="19554" y="82529"/>
                              </a:cubicBezTo>
                              <a:lnTo>
                                <a:pt x="82610" y="6329"/>
                              </a:lnTo>
                              <a:cubicBezTo>
                                <a:pt x="82514" y="6329"/>
                                <a:pt x="18697" y="-9387"/>
                                <a:pt x="6600" y="871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954B55"/>
                        </a:solidFill>
                        <a:ln w="9525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zh-CN" altLang="en-US"/>
                        </a:p>
                      </p:txBody>
                    </p:sp>
                    <p:grpSp>
                      <p:nvGrpSpPr>
                        <p:cNvPr id="391" name="组合 390"/>
                        <p:cNvGrpSpPr/>
                        <p:nvPr/>
                      </p:nvGrpSpPr>
                      <p:grpSpPr>
                        <a:xfrm>
                          <a:off x="5037531" y="4056666"/>
                          <a:ext cx="66964" cy="67040"/>
                          <a:chOff x="5037531" y="4056666"/>
                          <a:chExt cx="66964" cy="67040"/>
                        </a:xfrm>
                      </p:grpSpPr>
                      <p:sp>
                        <p:nvSpPr>
                          <p:cNvPr id="399" name="任意多边形 398"/>
                          <p:cNvSpPr/>
                          <p:nvPr/>
                        </p:nvSpPr>
                        <p:spPr>
                          <a:xfrm>
                            <a:off x="5037531" y="4056666"/>
                            <a:ext cx="66964" cy="67040"/>
                          </a:xfrm>
                          <a:custGeom>
                            <a:avLst/>
                            <a:gdLst>
                              <a:gd name="connsiteX0" fmla="*/ 66725 w 66964"/>
                              <a:gd name="connsiteY0" fmla="*/ 29558 h 67040"/>
                              <a:gd name="connsiteX1" fmla="*/ 37483 w 66964"/>
                              <a:gd name="connsiteY1" fmla="*/ 66800 h 67040"/>
                              <a:gd name="connsiteX2" fmla="*/ 240 w 66964"/>
                              <a:gd name="connsiteY2" fmla="*/ 37559 h 67040"/>
                              <a:gd name="connsiteX3" fmla="*/ 29482 w 66964"/>
                              <a:gd name="connsiteY3" fmla="*/ 221 h 67040"/>
                              <a:gd name="connsiteX4" fmla="*/ 66725 w 66964"/>
                              <a:gd name="connsiteY4" fmla="*/ 29558 h 67040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</a:cxnLst>
                            <a:rect l="l" t="t" r="r" b="b"/>
                            <a:pathLst>
                              <a:path w="66964" h="67040">
                                <a:moveTo>
                                  <a:pt x="66725" y="29558"/>
                                </a:moveTo>
                                <a:cubicBezTo>
                                  <a:pt x="68915" y="47941"/>
                                  <a:pt x="55866" y="64610"/>
                                  <a:pt x="37483" y="66800"/>
                                </a:cubicBezTo>
                                <a:cubicBezTo>
                                  <a:pt x="19100" y="68991"/>
                                  <a:pt x="2431" y="55942"/>
                                  <a:pt x="240" y="37559"/>
                                </a:cubicBezTo>
                                <a:cubicBezTo>
                                  <a:pt x="-1951" y="19175"/>
                                  <a:pt x="11098" y="2507"/>
                                  <a:pt x="29482" y="221"/>
                                </a:cubicBezTo>
                                <a:cubicBezTo>
                                  <a:pt x="47865" y="-1875"/>
                                  <a:pt x="64534" y="11175"/>
                                  <a:pt x="66725" y="29558"/>
                                </a:cubicBezTo>
                                <a:close/>
                              </a:path>
                            </a:pathLst>
                          </a:custGeom>
                          <a:solidFill>
                            <a:srgbClr val="FFC9BD"/>
                          </a:solidFill>
                          <a:ln w="9525" cap="flat">
                            <a:noFill/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zh-CN" altLang="en-US"/>
                          </a:p>
                        </p:txBody>
                      </p:sp>
                      <p:sp>
                        <p:nvSpPr>
                          <p:cNvPr id="400" name="任意多边形 399"/>
                          <p:cNvSpPr/>
                          <p:nvPr/>
                        </p:nvSpPr>
                        <p:spPr>
                          <a:xfrm>
                            <a:off x="5060427" y="4078386"/>
                            <a:ext cx="20778" cy="23173"/>
                          </a:xfrm>
                          <a:custGeom>
                            <a:avLst/>
                            <a:gdLst>
                              <a:gd name="connsiteX0" fmla="*/ 109 w 20778"/>
                              <a:gd name="connsiteY0" fmla="*/ 23173 h 23173"/>
                              <a:gd name="connsiteX1" fmla="*/ 20779 w 20778"/>
                              <a:gd name="connsiteY1" fmla="*/ 28 h 23173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</a:cxnLst>
                            <a:rect l="l" t="t" r="r" b="b"/>
                            <a:pathLst>
                              <a:path w="20778" h="23173">
                                <a:moveTo>
                                  <a:pt x="109" y="23173"/>
                                </a:moveTo>
                                <a:cubicBezTo>
                                  <a:pt x="109" y="23173"/>
                                  <a:pt x="-2748" y="-925"/>
                                  <a:pt x="20779" y="28"/>
                                </a:cubicBezTo>
                              </a:path>
                            </a:pathLst>
                          </a:custGeom>
                          <a:noFill/>
                          <a:ln w="5354" cap="rnd">
                            <a:solidFill>
                              <a:srgbClr val="1B172C"/>
                            </a:solidFill>
                            <a:prstDash val="solid"/>
                            <a:round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zh-CN" altLang="en-US"/>
                          </a:p>
                        </p:txBody>
                      </p:sp>
                    </p:grpSp>
                    <p:grpSp>
                      <p:nvGrpSpPr>
                        <p:cNvPr id="392" name="组合 391"/>
                        <p:cNvGrpSpPr/>
                        <p:nvPr/>
                      </p:nvGrpSpPr>
                      <p:grpSpPr>
                        <a:xfrm>
                          <a:off x="4895853" y="4058761"/>
                          <a:ext cx="109253" cy="88167"/>
                          <a:chOff x="4895853" y="4058761"/>
                          <a:chExt cx="109253" cy="88167"/>
                        </a:xfrm>
                      </p:grpSpPr>
                      <p:sp>
                        <p:nvSpPr>
                          <p:cNvPr id="393" name="任意多边形 392"/>
                          <p:cNvSpPr/>
                          <p:nvPr/>
                        </p:nvSpPr>
                        <p:spPr>
                          <a:xfrm>
                            <a:off x="4936330" y="4119180"/>
                            <a:ext cx="9715" cy="9906"/>
                          </a:xfrm>
                          <a:custGeom>
                            <a:avLst/>
                            <a:gdLst>
                              <a:gd name="connsiteX0" fmla="*/ 571 w 9715"/>
                              <a:gd name="connsiteY0" fmla="*/ 0 h 9906"/>
                              <a:gd name="connsiteX1" fmla="*/ 0 w 9715"/>
                              <a:gd name="connsiteY1" fmla="*/ 9811 h 9906"/>
                              <a:gd name="connsiteX2" fmla="*/ 9716 w 9715"/>
                              <a:gd name="connsiteY2" fmla="*/ 9906 h 9906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</a:cxnLst>
                            <a:rect l="l" t="t" r="r" b="b"/>
                            <a:pathLst>
                              <a:path w="9715" h="9906">
                                <a:moveTo>
                                  <a:pt x="571" y="0"/>
                                </a:moveTo>
                                <a:lnTo>
                                  <a:pt x="0" y="9811"/>
                                </a:lnTo>
                                <a:lnTo>
                                  <a:pt x="9716" y="9906"/>
                                </a:lnTo>
                              </a:path>
                            </a:pathLst>
                          </a:custGeom>
                          <a:noFill/>
                          <a:ln w="5354" cap="rnd">
                            <a:solidFill>
                              <a:srgbClr val="1B172C"/>
                            </a:solidFill>
                            <a:prstDash val="solid"/>
                            <a:round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zh-CN" altLang="en-US"/>
                          </a:p>
                        </p:txBody>
                      </p:sp>
                      <p:sp>
                        <p:nvSpPr>
                          <p:cNvPr id="394" name="任意多边形 393"/>
                          <p:cNvSpPr/>
                          <p:nvPr/>
                        </p:nvSpPr>
                        <p:spPr>
                          <a:xfrm>
                            <a:off x="4966810" y="4058761"/>
                            <a:ext cx="38296" cy="9820"/>
                          </a:xfrm>
                          <a:custGeom>
                            <a:avLst/>
                            <a:gdLst>
                              <a:gd name="connsiteX0" fmla="*/ 18574 w 38296"/>
                              <a:gd name="connsiteY0" fmla="*/ 31 h 9820"/>
                              <a:gd name="connsiteX1" fmla="*/ 0 w 38296"/>
                              <a:gd name="connsiteY1" fmla="*/ 5270 h 9820"/>
                              <a:gd name="connsiteX2" fmla="*/ 16479 w 38296"/>
                              <a:gd name="connsiteY2" fmla="*/ 9747 h 9820"/>
                              <a:gd name="connsiteX3" fmla="*/ 38196 w 38296"/>
                              <a:gd name="connsiteY3" fmla="*/ 5270 h 9820"/>
                              <a:gd name="connsiteX4" fmla="*/ 18574 w 38296"/>
                              <a:gd name="connsiteY4" fmla="*/ 31 h 9820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</a:cxnLst>
                            <a:rect l="l" t="t" r="r" b="b"/>
                            <a:pathLst>
                              <a:path w="38296" h="9820">
                                <a:moveTo>
                                  <a:pt x="18574" y="31"/>
                                </a:moveTo>
                                <a:cubicBezTo>
                                  <a:pt x="18574" y="31"/>
                                  <a:pt x="-95" y="-731"/>
                                  <a:pt x="0" y="5270"/>
                                </a:cubicBezTo>
                                <a:cubicBezTo>
                                  <a:pt x="0" y="5270"/>
                                  <a:pt x="191" y="9366"/>
                                  <a:pt x="16479" y="9747"/>
                                </a:cubicBezTo>
                                <a:cubicBezTo>
                                  <a:pt x="32766" y="10128"/>
                                  <a:pt x="36957" y="9080"/>
                                  <a:pt x="38196" y="5270"/>
                                </a:cubicBezTo>
                                <a:cubicBezTo>
                                  <a:pt x="39529" y="1460"/>
                                  <a:pt x="27337" y="-159"/>
                                  <a:pt x="18574" y="31"/>
                                </a:cubicBezTo>
                                <a:close/>
                              </a:path>
                            </a:pathLst>
                          </a:custGeom>
                          <a:solidFill>
                            <a:srgbClr val="793641"/>
                          </a:solidFill>
                          <a:ln w="9525" cap="flat">
                            <a:noFill/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zh-CN" altLang="en-US"/>
                          </a:p>
                        </p:txBody>
                      </p:sp>
                      <p:sp>
                        <p:nvSpPr>
                          <p:cNvPr id="395" name="任意多边形 394"/>
                          <p:cNvSpPr/>
                          <p:nvPr/>
                        </p:nvSpPr>
                        <p:spPr>
                          <a:xfrm>
                            <a:off x="4895853" y="4061052"/>
                            <a:ext cx="31916" cy="9645"/>
                          </a:xfrm>
                          <a:custGeom>
                            <a:avLst/>
                            <a:gdLst>
                              <a:gd name="connsiteX0" fmla="*/ 15141 w 31916"/>
                              <a:gd name="connsiteY0" fmla="*/ 216 h 9645"/>
                              <a:gd name="connsiteX1" fmla="*/ 31905 w 31916"/>
                              <a:gd name="connsiteY1" fmla="*/ 4217 h 9645"/>
                              <a:gd name="connsiteX2" fmla="*/ 19427 w 31916"/>
                              <a:gd name="connsiteY2" fmla="*/ 9170 h 9645"/>
                              <a:gd name="connsiteX3" fmla="*/ 187 w 31916"/>
                              <a:gd name="connsiteY3" fmla="*/ 6122 h 9645"/>
                              <a:gd name="connsiteX4" fmla="*/ 15141 w 31916"/>
                              <a:gd name="connsiteY4" fmla="*/ 216 h 9645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</a:cxnLst>
                            <a:rect l="l" t="t" r="r" b="b"/>
                            <a:pathLst>
                              <a:path w="31916" h="9645">
                                <a:moveTo>
                                  <a:pt x="15141" y="216"/>
                                </a:moveTo>
                                <a:cubicBezTo>
                                  <a:pt x="15141" y="216"/>
                                  <a:pt x="30476" y="-1403"/>
                                  <a:pt x="31905" y="4217"/>
                                </a:cubicBezTo>
                                <a:cubicBezTo>
                                  <a:pt x="31905" y="4217"/>
                                  <a:pt x="32762" y="8027"/>
                                  <a:pt x="19427" y="9170"/>
                                </a:cubicBezTo>
                                <a:cubicBezTo>
                                  <a:pt x="5997" y="10408"/>
                                  <a:pt x="1615" y="9170"/>
                                  <a:pt x="187" y="6122"/>
                                </a:cubicBezTo>
                                <a:cubicBezTo>
                                  <a:pt x="-1432" y="2598"/>
                                  <a:pt x="7807" y="502"/>
                                  <a:pt x="15141" y="216"/>
                                </a:cubicBezTo>
                                <a:close/>
                              </a:path>
                            </a:pathLst>
                          </a:custGeom>
                          <a:solidFill>
                            <a:srgbClr val="793641"/>
                          </a:solidFill>
                          <a:ln w="9525" cap="flat">
                            <a:noFill/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zh-CN" altLang="en-US"/>
                          </a:p>
                        </p:txBody>
                      </p:sp>
                      <p:sp>
                        <p:nvSpPr>
                          <p:cNvPr id="396" name="任意多边形 395"/>
                          <p:cNvSpPr/>
                          <p:nvPr/>
                        </p:nvSpPr>
                        <p:spPr>
                          <a:xfrm>
                            <a:off x="4968144" y="4092533"/>
                            <a:ext cx="23717" cy="5406"/>
                          </a:xfrm>
                          <a:custGeom>
                            <a:avLst/>
                            <a:gdLst>
                              <a:gd name="connsiteX0" fmla="*/ 0 w 23717"/>
                              <a:gd name="connsiteY0" fmla="*/ 5406 h 5406"/>
                              <a:gd name="connsiteX1" fmla="*/ 23717 w 23717"/>
                              <a:gd name="connsiteY1" fmla="*/ 5025 h 5406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</a:cxnLst>
                            <a:rect l="l" t="t" r="r" b="b"/>
                            <a:pathLst>
                              <a:path w="23717" h="5406">
                                <a:moveTo>
                                  <a:pt x="0" y="5406"/>
                                </a:moveTo>
                                <a:cubicBezTo>
                                  <a:pt x="0" y="5406"/>
                                  <a:pt x="8287" y="-6500"/>
                                  <a:pt x="23717" y="5025"/>
                                </a:cubicBezTo>
                              </a:path>
                            </a:pathLst>
                          </a:custGeom>
                          <a:noFill/>
                          <a:ln w="6716" cap="rnd">
                            <a:solidFill>
                              <a:srgbClr val="1B172C"/>
                            </a:solidFill>
                            <a:prstDash val="solid"/>
                            <a:round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zh-CN" altLang="en-US"/>
                          </a:p>
                        </p:txBody>
                      </p:sp>
                      <p:sp>
                        <p:nvSpPr>
                          <p:cNvPr id="397" name="任意多边形 396"/>
                          <p:cNvSpPr/>
                          <p:nvPr/>
                        </p:nvSpPr>
                        <p:spPr>
                          <a:xfrm>
                            <a:off x="4904326" y="4094838"/>
                            <a:ext cx="17716" cy="5482"/>
                          </a:xfrm>
                          <a:custGeom>
                            <a:avLst/>
                            <a:gdLst>
                              <a:gd name="connsiteX0" fmla="*/ 0 w 17716"/>
                              <a:gd name="connsiteY0" fmla="*/ 5483 h 5482"/>
                              <a:gd name="connsiteX1" fmla="*/ 17717 w 17716"/>
                              <a:gd name="connsiteY1" fmla="*/ 4721 h 5482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</a:cxnLst>
                            <a:rect l="l" t="t" r="r" b="b"/>
                            <a:pathLst>
                              <a:path w="17716" h="5482">
                                <a:moveTo>
                                  <a:pt x="0" y="5483"/>
                                </a:moveTo>
                                <a:cubicBezTo>
                                  <a:pt x="0" y="5483"/>
                                  <a:pt x="7429" y="-6328"/>
                                  <a:pt x="17717" y="4721"/>
                                </a:cubicBezTo>
                              </a:path>
                            </a:pathLst>
                          </a:custGeom>
                          <a:noFill/>
                          <a:ln w="6716" cap="rnd">
                            <a:solidFill>
                              <a:srgbClr val="1B172C"/>
                            </a:solidFill>
                            <a:prstDash val="solid"/>
                            <a:round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zh-CN" altLang="en-US"/>
                          </a:p>
                        </p:txBody>
                      </p:sp>
                      <p:sp>
                        <p:nvSpPr>
                          <p:cNvPr id="398" name="任意多边形 397"/>
                          <p:cNvSpPr/>
                          <p:nvPr/>
                        </p:nvSpPr>
                        <p:spPr>
                          <a:xfrm>
                            <a:off x="4952428" y="4136802"/>
                            <a:ext cx="23050" cy="10126"/>
                          </a:xfrm>
                          <a:custGeom>
                            <a:avLst/>
                            <a:gdLst>
                              <a:gd name="connsiteX0" fmla="*/ 0 w 23050"/>
                              <a:gd name="connsiteY0" fmla="*/ 9811 h 10126"/>
                              <a:gd name="connsiteX1" fmla="*/ 23050 w 23050"/>
                              <a:gd name="connsiteY1" fmla="*/ 0 h 10126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</a:cxnLst>
                            <a:rect l="l" t="t" r="r" b="b"/>
                            <a:pathLst>
                              <a:path w="23050" h="10126">
                                <a:moveTo>
                                  <a:pt x="0" y="9811"/>
                                </a:moveTo>
                                <a:cubicBezTo>
                                  <a:pt x="0" y="9811"/>
                                  <a:pt x="12763" y="12859"/>
                                  <a:pt x="23050" y="0"/>
                                </a:cubicBezTo>
                              </a:path>
                            </a:pathLst>
                          </a:custGeom>
                          <a:noFill/>
                          <a:ln w="6716" cap="rnd">
                            <a:solidFill>
                              <a:srgbClr val="1B172C"/>
                            </a:solidFill>
                            <a:prstDash val="solid"/>
                            <a:round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zh-CN" altLang="en-US"/>
                          </a:p>
                        </p:txBody>
                      </p:sp>
                    </p:grpSp>
                  </p:grpSp>
                  <p:sp>
                    <p:nvSpPr>
                      <p:cNvPr id="383" name="任意多边形 382"/>
                      <p:cNvSpPr/>
                      <p:nvPr/>
                    </p:nvSpPr>
                    <p:spPr>
                      <a:xfrm>
                        <a:off x="4862982" y="3937373"/>
                        <a:ext cx="212285" cy="101559"/>
                      </a:xfrm>
                      <a:custGeom>
                        <a:avLst/>
                        <a:gdLst>
                          <a:gd name="connsiteX0" fmla="*/ 75443 w 212285"/>
                          <a:gd name="connsiteY0" fmla="*/ 2642 h 101559"/>
                          <a:gd name="connsiteX1" fmla="*/ 2577 w 212285"/>
                          <a:gd name="connsiteY1" fmla="*/ 70365 h 101559"/>
                          <a:gd name="connsiteX2" fmla="*/ 196982 w 212285"/>
                          <a:gd name="connsiteY2" fmla="*/ 93797 h 101559"/>
                          <a:gd name="connsiteX3" fmla="*/ 187457 w 212285"/>
                          <a:gd name="connsiteY3" fmla="*/ 27503 h 101559"/>
                          <a:gd name="connsiteX4" fmla="*/ 75443 w 212285"/>
                          <a:gd name="connsiteY4" fmla="*/ 2642 h 10155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212285" h="101559">
                            <a:moveTo>
                              <a:pt x="75443" y="2642"/>
                            </a:moveTo>
                            <a:cubicBezTo>
                              <a:pt x="75443" y="2642"/>
                              <a:pt x="-16378" y="35789"/>
                              <a:pt x="2577" y="70365"/>
                            </a:cubicBezTo>
                            <a:cubicBezTo>
                              <a:pt x="16674" y="95987"/>
                              <a:pt x="109162" y="111894"/>
                              <a:pt x="196982" y="93797"/>
                            </a:cubicBezTo>
                            <a:cubicBezTo>
                              <a:pt x="196982" y="93797"/>
                              <a:pt x="237083" y="61221"/>
                              <a:pt x="187457" y="27503"/>
                            </a:cubicBezTo>
                            <a:cubicBezTo>
                              <a:pt x="187362" y="27503"/>
                              <a:pt x="160787" y="-10121"/>
                              <a:pt x="75443" y="2642"/>
                            </a:cubicBezTo>
                            <a:close/>
                          </a:path>
                        </a:pathLst>
                      </a:custGeom>
                      <a:solidFill>
                        <a:srgbClr val="954B55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zh-CN" altLang="en-US"/>
                      </a:p>
                    </p:txBody>
                  </p:sp>
                  <p:sp>
                    <p:nvSpPr>
                      <p:cNvPr id="384" name="任意多边形 383"/>
                      <p:cNvSpPr/>
                      <p:nvPr/>
                    </p:nvSpPr>
                    <p:spPr>
                      <a:xfrm>
                        <a:off x="4939569" y="4241630"/>
                        <a:ext cx="149447" cy="57742"/>
                      </a:xfrm>
                      <a:custGeom>
                        <a:avLst/>
                        <a:gdLst>
                          <a:gd name="connsiteX0" fmla="*/ 0 w 149447"/>
                          <a:gd name="connsiteY0" fmla="*/ 22711 h 57742"/>
                          <a:gd name="connsiteX1" fmla="*/ 64770 w 149447"/>
                          <a:gd name="connsiteY1" fmla="*/ 423 h 57742"/>
                          <a:gd name="connsiteX2" fmla="*/ 149447 w 149447"/>
                          <a:gd name="connsiteY2" fmla="*/ 6709 h 57742"/>
                          <a:gd name="connsiteX3" fmla="*/ 69342 w 149447"/>
                          <a:gd name="connsiteY3" fmla="*/ 56715 h 57742"/>
                          <a:gd name="connsiteX4" fmla="*/ 23813 w 149447"/>
                          <a:gd name="connsiteY4" fmla="*/ 53953 h 57742"/>
                          <a:gd name="connsiteX5" fmla="*/ 0 w 149447"/>
                          <a:gd name="connsiteY5" fmla="*/ 22711 h 5774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w="149447" h="57742">
                            <a:moveTo>
                              <a:pt x="0" y="22711"/>
                            </a:moveTo>
                            <a:cubicBezTo>
                              <a:pt x="0" y="22711"/>
                              <a:pt x="26194" y="5757"/>
                              <a:pt x="64770" y="423"/>
                            </a:cubicBezTo>
                            <a:cubicBezTo>
                              <a:pt x="64770" y="423"/>
                              <a:pt x="110871" y="-2435"/>
                              <a:pt x="149447" y="6709"/>
                            </a:cubicBezTo>
                            <a:cubicBezTo>
                              <a:pt x="149447" y="6709"/>
                              <a:pt x="146875" y="47667"/>
                              <a:pt x="69342" y="56715"/>
                            </a:cubicBezTo>
                            <a:cubicBezTo>
                              <a:pt x="54102" y="58525"/>
                              <a:pt x="38576" y="58144"/>
                              <a:pt x="23813" y="53953"/>
                            </a:cubicBezTo>
                            <a:cubicBezTo>
                              <a:pt x="8954" y="49762"/>
                              <a:pt x="5525" y="39475"/>
                              <a:pt x="0" y="22711"/>
                            </a:cubicBezTo>
                            <a:close/>
                          </a:path>
                        </a:pathLst>
                      </a:custGeom>
                      <a:solidFill>
                        <a:srgbClr val="FFC9BD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zh-CN" altLang="en-US"/>
                      </a:p>
                    </p:txBody>
                  </p:sp>
                </p:grpSp>
              </p:grpSp>
            </p:grpSp>
            <p:grpSp>
              <p:nvGrpSpPr>
                <p:cNvPr id="366" name="组合 365"/>
                <p:cNvGrpSpPr/>
                <p:nvPr/>
              </p:nvGrpSpPr>
              <p:grpSpPr>
                <a:xfrm>
                  <a:off x="3292601" y="4353686"/>
                  <a:ext cx="2525172" cy="1020032"/>
                  <a:chOff x="3292601" y="4353686"/>
                  <a:chExt cx="2525172" cy="1020032"/>
                </a:xfrm>
              </p:grpSpPr>
              <p:grpSp>
                <p:nvGrpSpPr>
                  <p:cNvPr id="367" name="组合 366"/>
                  <p:cNvGrpSpPr/>
                  <p:nvPr/>
                </p:nvGrpSpPr>
                <p:grpSpPr>
                  <a:xfrm>
                    <a:off x="3955245" y="4353686"/>
                    <a:ext cx="739721" cy="320135"/>
                    <a:chOff x="3955245" y="4353686"/>
                    <a:chExt cx="739721" cy="320135"/>
                  </a:xfrm>
                </p:grpSpPr>
                <p:sp>
                  <p:nvSpPr>
                    <p:cNvPr id="372" name="任意多边形 371"/>
                    <p:cNvSpPr/>
                    <p:nvPr/>
                  </p:nvSpPr>
                  <p:spPr>
                    <a:xfrm>
                      <a:off x="4416837" y="4644103"/>
                      <a:ext cx="278129" cy="29717"/>
                    </a:xfrm>
                    <a:custGeom>
                      <a:avLst/>
                      <a:gdLst>
                        <a:gd name="connsiteX0" fmla="*/ 263271 w 278129"/>
                        <a:gd name="connsiteY0" fmla="*/ 29718 h 29717"/>
                        <a:gd name="connsiteX1" fmla="*/ 0 w 278129"/>
                        <a:gd name="connsiteY1" fmla="*/ 29718 h 29717"/>
                        <a:gd name="connsiteX2" fmla="*/ 0 w 278129"/>
                        <a:gd name="connsiteY2" fmla="*/ 0 h 29717"/>
                        <a:gd name="connsiteX3" fmla="*/ 263271 w 278129"/>
                        <a:gd name="connsiteY3" fmla="*/ 0 h 29717"/>
                        <a:gd name="connsiteX4" fmla="*/ 278130 w 278129"/>
                        <a:gd name="connsiteY4" fmla="*/ 14859 h 29717"/>
                        <a:gd name="connsiteX5" fmla="*/ 278130 w 278129"/>
                        <a:gd name="connsiteY5" fmla="*/ 14859 h 29717"/>
                        <a:gd name="connsiteX6" fmla="*/ 263271 w 278129"/>
                        <a:gd name="connsiteY6" fmla="*/ 29718 h 2971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278129" h="29717">
                          <a:moveTo>
                            <a:pt x="263271" y="29718"/>
                          </a:moveTo>
                          <a:lnTo>
                            <a:pt x="0" y="29718"/>
                          </a:lnTo>
                          <a:lnTo>
                            <a:pt x="0" y="0"/>
                          </a:lnTo>
                          <a:lnTo>
                            <a:pt x="263271" y="0"/>
                          </a:lnTo>
                          <a:cubicBezTo>
                            <a:pt x="271463" y="0"/>
                            <a:pt x="278130" y="6667"/>
                            <a:pt x="278130" y="14859"/>
                          </a:cubicBezTo>
                          <a:lnTo>
                            <a:pt x="278130" y="14859"/>
                          </a:lnTo>
                          <a:cubicBezTo>
                            <a:pt x="278130" y="23050"/>
                            <a:pt x="271463" y="29718"/>
                            <a:pt x="263271" y="29718"/>
                          </a:cubicBezTo>
                          <a:close/>
                        </a:path>
                      </a:pathLst>
                    </a:custGeom>
                    <a:solidFill>
                      <a:srgbClr val="061418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grpSp>
                  <p:nvGrpSpPr>
                    <p:cNvPr id="373" name="组合 372"/>
                    <p:cNvGrpSpPr/>
                    <p:nvPr/>
                  </p:nvGrpSpPr>
                  <p:grpSpPr>
                    <a:xfrm>
                      <a:off x="3955245" y="4353686"/>
                      <a:ext cx="496262" cy="320135"/>
                      <a:chOff x="3955245" y="4353686"/>
                      <a:chExt cx="496262" cy="320135"/>
                    </a:xfrm>
                  </p:grpSpPr>
                  <p:sp>
                    <p:nvSpPr>
                      <p:cNvPr id="374" name="任意多边形 373"/>
                      <p:cNvSpPr/>
                      <p:nvPr/>
                    </p:nvSpPr>
                    <p:spPr>
                      <a:xfrm>
                        <a:off x="3955245" y="4353686"/>
                        <a:ext cx="496262" cy="320135"/>
                      </a:xfrm>
                      <a:custGeom>
                        <a:avLst/>
                        <a:gdLst>
                          <a:gd name="connsiteX0" fmla="*/ 496263 w 496262"/>
                          <a:gd name="connsiteY0" fmla="*/ 320135 h 320135"/>
                          <a:gd name="connsiteX1" fmla="*/ 118311 w 496262"/>
                          <a:gd name="connsiteY1" fmla="*/ 320135 h 320135"/>
                          <a:gd name="connsiteX2" fmla="*/ 75162 w 496262"/>
                          <a:gd name="connsiteY2" fmla="*/ 287369 h 320135"/>
                          <a:gd name="connsiteX3" fmla="*/ 581 w 496262"/>
                          <a:gd name="connsiteY3" fmla="*/ 19526 h 320135"/>
                          <a:gd name="connsiteX4" fmla="*/ 15441 w 496262"/>
                          <a:gd name="connsiteY4" fmla="*/ 0 h 320135"/>
                          <a:gd name="connsiteX5" fmla="*/ 397869 w 496262"/>
                          <a:gd name="connsiteY5" fmla="*/ 0 h 320135"/>
                          <a:gd name="connsiteX6" fmla="*/ 415681 w 496262"/>
                          <a:gd name="connsiteY6" fmla="*/ 13716 h 320135"/>
                          <a:gd name="connsiteX7" fmla="*/ 496263 w 496262"/>
                          <a:gd name="connsiteY7" fmla="*/ 320135 h 32013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</a:cxnLst>
                        <a:rect l="l" t="t" r="r" b="b"/>
                        <a:pathLst>
                          <a:path w="496262" h="320135">
                            <a:moveTo>
                              <a:pt x="496263" y="320135"/>
                            </a:moveTo>
                            <a:lnTo>
                              <a:pt x="118311" y="320135"/>
                            </a:lnTo>
                            <a:cubicBezTo>
                              <a:pt x="98213" y="320135"/>
                              <a:pt x="80592" y="306705"/>
                              <a:pt x="75162" y="287369"/>
                            </a:cubicBezTo>
                            <a:lnTo>
                              <a:pt x="581" y="19526"/>
                            </a:lnTo>
                            <a:cubicBezTo>
                              <a:pt x="-2181" y="9716"/>
                              <a:pt x="5249" y="0"/>
                              <a:pt x="15441" y="0"/>
                            </a:cubicBezTo>
                            <a:lnTo>
                              <a:pt x="397869" y="0"/>
                            </a:lnTo>
                            <a:cubicBezTo>
                              <a:pt x="406251" y="0"/>
                              <a:pt x="413490" y="5620"/>
                              <a:pt x="415681" y="13716"/>
                            </a:cubicBezTo>
                            <a:lnTo>
                              <a:pt x="496263" y="320135"/>
                            </a:lnTo>
                            <a:close/>
                          </a:path>
                        </a:pathLst>
                      </a:custGeom>
                      <a:solidFill>
                        <a:srgbClr val="1C2E34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zh-CN" altLang="en-US"/>
                      </a:p>
                    </p:txBody>
                  </p:sp>
                  <p:sp>
                    <p:nvSpPr>
                      <p:cNvPr id="375" name="任意多边形 374"/>
                      <p:cNvSpPr/>
                      <p:nvPr/>
                    </p:nvSpPr>
                    <p:spPr>
                      <a:xfrm>
                        <a:off x="4145977" y="4476332"/>
                        <a:ext cx="93010" cy="93010"/>
                      </a:xfrm>
                      <a:custGeom>
                        <a:avLst/>
                        <a:gdLst>
                          <a:gd name="connsiteX0" fmla="*/ 65913 w 65913"/>
                          <a:gd name="connsiteY0" fmla="*/ 32957 h 65913"/>
                          <a:gd name="connsiteX1" fmla="*/ 32956 w 65913"/>
                          <a:gd name="connsiteY1" fmla="*/ 65913 h 65913"/>
                          <a:gd name="connsiteX2" fmla="*/ 0 w 65913"/>
                          <a:gd name="connsiteY2" fmla="*/ 32957 h 65913"/>
                          <a:gd name="connsiteX3" fmla="*/ 32956 w 65913"/>
                          <a:gd name="connsiteY3" fmla="*/ 0 h 65913"/>
                          <a:gd name="connsiteX4" fmla="*/ 65913 w 65913"/>
                          <a:gd name="connsiteY4" fmla="*/ 32957 h 659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65913" h="65913">
                            <a:moveTo>
                              <a:pt x="65913" y="32957"/>
                            </a:moveTo>
                            <a:cubicBezTo>
                              <a:pt x="65913" y="51150"/>
                              <a:pt x="51149" y="65913"/>
                              <a:pt x="32956" y="65913"/>
                            </a:cubicBezTo>
                            <a:cubicBezTo>
                              <a:pt x="14764" y="65913"/>
                              <a:pt x="0" y="51150"/>
                              <a:pt x="0" y="32957"/>
                            </a:cubicBezTo>
                            <a:cubicBezTo>
                              <a:pt x="0" y="14764"/>
                              <a:pt x="14764" y="0"/>
                              <a:pt x="32956" y="0"/>
                            </a:cubicBezTo>
                            <a:cubicBezTo>
                              <a:pt x="51149" y="-95"/>
                              <a:pt x="65913" y="14764"/>
                              <a:pt x="65913" y="32957"/>
                            </a:cubicBezTo>
                            <a:close/>
                          </a:path>
                        </a:pathLst>
                      </a:custGeom>
                      <a:solidFill>
                        <a:schemeClr val="lt2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zh-CN" altLang="en-US"/>
                      </a:p>
                    </p:txBody>
                  </p:sp>
                </p:grpSp>
              </p:grpSp>
              <p:grpSp>
                <p:nvGrpSpPr>
                  <p:cNvPr id="368" name="组合 367"/>
                  <p:cNvGrpSpPr/>
                  <p:nvPr/>
                </p:nvGrpSpPr>
                <p:grpSpPr>
                  <a:xfrm>
                    <a:off x="3778376" y="4673821"/>
                    <a:ext cx="1122902" cy="699897"/>
                    <a:chOff x="3778376" y="4673821"/>
                    <a:chExt cx="1122902" cy="699897"/>
                  </a:xfrm>
                  <a:solidFill>
                    <a:srgbClr val="FFFFFF"/>
                  </a:solidFill>
                </p:grpSpPr>
                <p:sp>
                  <p:nvSpPr>
                    <p:cNvPr id="370" name="任意多边形 369"/>
                    <p:cNvSpPr/>
                    <p:nvPr/>
                  </p:nvSpPr>
                  <p:spPr>
                    <a:xfrm>
                      <a:off x="4353781" y="4709064"/>
                      <a:ext cx="9525" cy="664654"/>
                    </a:xfrm>
                    <a:custGeom>
                      <a:avLst/>
                      <a:gdLst>
                        <a:gd name="connsiteX0" fmla="*/ 0 w 9525"/>
                        <a:gd name="connsiteY0" fmla="*/ 0 h 664654"/>
                        <a:gd name="connsiteX1" fmla="*/ 0 w 9525"/>
                        <a:gd name="connsiteY1" fmla="*/ 664655 h 66465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64654">
                          <a:moveTo>
                            <a:pt x="0" y="0"/>
                          </a:moveTo>
                          <a:lnTo>
                            <a:pt x="0" y="664655"/>
                          </a:lnTo>
                        </a:path>
                      </a:pathLst>
                    </a:custGeom>
                    <a:ln w="10921" cap="flat">
                      <a:solidFill>
                        <a:srgbClr val="55382E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371" name="任意多边形 370"/>
                    <p:cNvSpPr/>
                    <p:nvPr/>
                  </p:nvSpPr>
                  <p:spPr>
                    <a:xfrm>
                      <a:off x="3778376" y="4673821"/>
                      <a:ext cx="1122902" cy="70484"/>
                    </a:xfrm>
                    <a:custGeom>
                      <a:avLst/>
                      <a:gdLst>
                        <a:gd name="connsiteX0" fmla="*/ 0 w 1122902"/>
                        <a:gd name="connsiteY0" fmla="*/ 0 h 70484"/>
                        <a:gd name="connsiteX1" fmla="*/ 1122902 w 1122902"/>
                        <a:gd name="connsiteY1" fmla="*/ 0 h 70484"/>
                        <a:gd name="connsiteX2" fmla="*/ 1122902 w 1122902"/>
                        <a:gd name="connsiteY2" fmla="*/ 70485 h 70484"/>
                        <a:gd name="connsiteX3" fmla="*/ 0 w 1122902"/>
                        <a:gd name="connsiteY3" fmla="*/ 70485 h 7048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122902" h="70484">
                          <a:moveTo>
                            <a:pt x="0" y="0"/>
                          </a:moveTo>
                          <a:lnTo>
                            <a:pt x="1122902" y="0"/>
                          </a:lnTo>
                          <a:lnTo>
                            <a:pt x="1122902" y="70485"/>
                          </a:lnTo>
                          <a:lnTo>
                            <a:pt x="0" y="70485"/>
                          </a:lnTo>
                          <a:close/>
                        </a:path>
                      </a:pathLst>
                    </a:custGeom>
                    <a:solidFill>
                      <a:schemeClr val="lt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sp>
                <p:nvSpPr>
                  <p:cNvPr id="369" name="任意多边形 368"/>
                  <p:cNvSpPr/>
                  <p:nvPr/>
                </p:nvSpPr>
                <p:spPr>
                  <a:xfrm>
                    <a:off x="3292601" y="5373718"/>
                    <a:ext cx="2525172" cy="9525"/>
                  </a:xfrm>
                  <a:custGeom>
                    <a:avLst/>
                    <a:gdLst>
                      <a:gd name="connsiteX0" fmla="*/ 2525173 w 2525172"/>
                      <a:gd name="connsiteY0" fmla="*/ 0 h 9525"/>
                      <a:gd name="connsiteX1" fmla="*/ 0 w 2525172"/>
                      <a:gd name="connsiteY1" fmla="*/ 0 h 95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525172" h="9525">
                        <a:moveTo>
                          <a:pt x="2525173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10921" cap="flat">
                    <a:solidFill>
                      <a:srgbClr val="55382E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</p:grpSp>
        <p:pic>
          <p:nvPicPr>
            <p:cNvPr id="469" name="Picture 2"/>
            <p:cNvPicPr>
              <a:picLocks noChangeAspect="1"/>
            </p:cNvPicPr>
            <p:nvPr/>
          </p:nvPicPr>
          <p:blipFill rotWithShape="1">
            <a:blip r:embed="rId1"/>
            <a:srcRect r="67741"/>
            <a:stretch>
              <a:fillRect/>
            </a:stretch>
          </p:blipFill>
          <p:spPr>
            <a:xfrm>
              <a:off x="8308747" y="3651501"/>
              <a:ext cx="141834" cy="154597"/>
            </a:xfrm>
            <a:prstGeom prst="rect">
              <a:avLst/>
            </a:prstGeom>
          </p:spPr>
        </p:pic>
      </p:grpSp>
    </p:spTree>
    <p:custDataLst>
      <p:tags r:id="rId2"/>
    </p:custData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6"/>
          <p:cNvSpPr txBox="1"/>
          <p:nvPr/>
        </p:nvSpPr>
        <p:spPr>
          <a:xfrm>
            <a:off x="1412370" y="3875884"/>
            <a:ext cx="9317620" cy="696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zh-CN" sz="3600" b="1" dirty="0">
                <a:latin typeface="+mj-lt"/>
                <a:ea typeface="+mj-ea"/>
              </a:rPr>
              <a:t>PART 01</a:t>
            </a:r>
            <a:endParaRPr lang="zh-CN" altLang="en-US" sz="3600" b="1" dirty="0">
              <a:latin typeface="+mj-lt"/>
              <a:ea typeface="+mj-ea"/>
            </a:endParaRPr>
          </a:p>
        </p:txBody>
      </p:sp>
      <p:sp>
        <p:nvSpPr>
          <p:cNvPr id="8" name="内容占位符 7"/>
          <p:cNvSpPr txBox="1"/>
          <p:nvPr/>
        </p:nvSpPr>
        <p:spPr>
          <a:xfrm>
            <a:off x="1412370" y="4579528"/>
            <a:ext cx="9317620" cy="14290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3765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zh-CN" altLang="en-US" sz="2800" b="1" dirty="0"/>
              <a:t>我们是谁</a:t>
            </a:r>
            <a:endParaRPr lang="zh-CN" altLang="en-US" sz="2800" b="1" dirty="0"/>
          </a:p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en-US" altLang="zh-CN" sz="2400" dirty="0">
                <a:solidFill>
                  <a:schemeClr val="bg1">
                    <a:lumMod val="65000"/>
                  </a:schemeClr>
                </a:solidFill>
              </a:rPr>
              <a:t>WHO ARE WE</a:t>
            </a:r>
            <a:endParaRPr lang="zh-CN" altLang="en-US" sz="2400" b="1" dirty="0"/>
          </a:p>
        </p:txBody>
      </p:sp>
      <p:sp>
        <p:nvSpPr>
          <p:cNvPr id="12" name="椭圆 11"/>
          <p:cNvSpPr/>
          <p:nvPr/>
        </p:nvSpPr>
        <p:spPr>
          <a:xfrm>
            <a:off x="5398070" y="1083985"/>
            <a:ext cx="1440000" cy="1440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0" name="Picture 2"/>
          <p:cNvPicPr>
            <a:picLocks noChangeAspect="1"/>
          </p:cNvPicPr>
          <p:nvPr/>
        </p:nvPicPr>
        <p:blipFill rotWithShape="1">
          <a:blip r:embed="rId1"/>
          <a:srcRect r="67741"/>
          <a:stretch>
            <a:fillRect/>
          </a:stretch>
        </p:blipFill>
        <p:spPr>
          <a:xfrm>
            <a:off x="5559831" y="1201671"/>
            <a:ext cx="1039089" cy="1132590"/>
          </a:xfrm>
          <a:prstGeom prst="rect">
            <a:avLst/>
          </a:prstGeom>
        </p:spPr>
      </p:pic>
    </p:spTree>
    <p:custDataLst>
      <p:tags r:id="rId2"/>
    </p:custData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本框 16"/>
          <p:cNvSpPr txBox="1"/>
          <p:nvPr/>
        </p:nvSpPr>
        <p:spPr>
          <a:xfrm>
            <a:off x="669923" y="915745"/>
            <a:ext cx="10850565" cy="628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3200" b="1" dirty="0" err="1">
                <a:latin typeface="+mj-lt"/>
                <a:ea typeface="+mj-ea"/>
              </a:rPr>
              <a:t>IvorySQL</a:t>
            </a:r>
            <a:r>
              <a:rPr lang="en-US" altLang="zh-CN" sz="3200" b="1" dirty="0">
                <a:latin typeface="+mj-lt"/>
                <a:ea typeface="+mj-ea"/>
              </a:rPr>
              <a:t> </a:t>
            </a:r>
            <a:r>
              <a:rPr lang="zh-CN" altLang="en-US" sz="3200" b="1" dirty="0">
                <a:latin typeface="+mj-lt"/>
                <a:ea typeface="+mj-ea"/>
              </a:rPr>
              <a:t>路线图</a:t>
            </a:r>
            <a:endParaRPr lang="zh-CN" altLang="en-US" sz="3200" b="1" dirty="0">
              <a:latin typeface="+mj-lt"/>
              <a:ea typeface="+mj-ea"/>
            </a:endParaRPr>
          </a:p>
        </p:txBody>
      </p:sp>
      <p:sp>
        <p:nvSpPr>
          <p:cNvPr id="4" name="Google Shape;145;g1057c05bba8_0_37"/>
          <p:cNvSpPr txBox="1"/>
          <p:nvPr/>
        </p:nvSpPr>
        <p:spPr>
          <a:xfrm>
            <a:off x="708473" y="2573395"/>
            <a:ext cx="4977840" cy="10837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3429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CA" altLang="zh-CN" sz="1600" dirty="0">
                <a:solidFill>
                  <a:schemeClr val="dk1"/>
                </a:solidFill>
              </a:rPr>
              <a:t>https://github.com/IvorySQL/IvorySQL/issues</a:t>
            </a:r>
            <a:endParaRPr lang="en-CA" altLang="zh-CN" sz="1600" dirty="0">
              <a:solidFill>
                <a:schemeClr val="dk1"/>
              </a:solidFill>
            </a:endParaRPr>
          </a:p>
          <a:p>
            <a:pPr marL="3429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CA" altLang="zh-CN" sz="1600" dirty="0">
              <a:solidFill>
                <a:schemeClr val="dk1"/>
              </a:solidFill>
            </a:endParaRPr>
          </a:p>
          <a:p>
            <a:pPr marL="3429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altLang="en-CA" sz="1600" dirty="0">
                <a:solidFill>
                  <a:schemeClr val="dk1"/>
                </a:solidFill>
              </a:rPr>
              <a:t>通过查看</a:t>
            </a:r>
            <a:r>
              <a:rPr lang="en-US" altLang="zh-CN" sz="1600" dirty="0">
                <a:solidFill>
                  <a:schemeClr val="dk1"/>
                </a:solidFill>
              </a:rPr>
              <a:t>github</a:t>
            </a:r>
            <a:r>
              <a:rPr lang="zh-CN" altLang="en-US" sz="1600" dirty="0">
                <a:solidFill>
                  <a:schemeClr val="dk1"/>
                </a:solidFill>
              </a:rPr>
              <a:t>中</a:t>
            </a:r>
            <a:r>
              <a:rPr lang="en-US" altLang="zh-CN" sz="1600" dirty="0">
                <a:solidFill>
                  <a:schemeClr val="dk1"/>
                </a:solidFill>
              </a:rPr>
              <a:t>issues</a:t>
            </a:r>
            <a:r>
              <a:rPr lang="zh-CN" altLang="en-US" sz="1600" dirty="0">
                <a:solidFill>
                  <a:schemeClr val="dk1"/>
                </a:solidFill>
              </a:rPr>
              <a:t>，可以获取最新特性列表</a:t>
            </a:r>
            <a:endParaRPr lang="zh-CN" altLang="en-CA" sz="1600" dirty="0">
              <a:solidFill>
                <a:schemeClr val="dk1"/>
              </a:solidFill>
            </a:endParaRPr>
          </a:p>
          <a:p>
            <a:pPr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endParaRPr dirty="0">
              <a:solidFill>
                <a:schemeClr val="dk1"/>
              </a:solidFill>
            </a:endParaRPr>
          </a:p>
        </p:txBody>
      </p:sp>
      <p:pic>
        <p:nvPicPr>
          <p:cNvPr id="5" name="图片 4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2"/>
          <a:srcRect b="998"/>
          <a:stretch>
            <a:fillRect/>
          </a:stretch>
        </p:blipFill>
        <p:spPr>
          <a:xfrm>
            <a:off x="6009229" y="1564864"/>
            <a:ext cx="5509404" cy="4134896"/>
          </a:xfrm>
          <a:prstGeom prst="rect">
            <a:avLst/>
          </a:prstGeom>
        </p:spPr>
      </p:pic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本框 16"/>
          <p:cNvSpPr txBox="1"/>
          <p:nvPr/>
        </p:nvSpPr>
        <p:spPr>
          <a:xfrm>
            <a:off x="669923" y="915745"/>
            <a:ext cx="10850565" cy="628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3200" b="1" dirty="0">
                <a:latin typeface="+mj-lt"/>
                <a:ea typeface="+mj-ea"/>
              </a:rPr>
              <a:t>整体架构</a:t>
            </a:r>
            <a:endParaRPr lang="zh-CN" altLang="en-US" sz="3200" b="1" dirty="0">
              <a:latin typeface="+mj-lt"/>
              <a:ea typeface="+mj-ea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883199" y="1696236"/>
            <a:ext cx="6462507" cy="3956288"/>
          </a:xfrm>
          <a:prstGeom prst="rect">
            <a:avLst/>
          </a:prstGeom>
        </p:spPr>
      </p:pic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本框 16"/>
          <p:cNvSpPr txBox="1"/>
          <p:nvPr/>
        </p:nvSpPr>
        <p:spPr>
          <a:xfrm>
            <a:off x="669923" y="915745"/>
            <a:ext cx="10850565" cy="628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3200" b="1" dirty="0">
                <a:latin typeface="+mj-lt"/>
                <a:ea typeface="+mj-ea"/>
              </a:rPr>
              <a:t>Oracle-PL/</a:t>
            </a:r>
            <a:r>
              <a:rPr lang="en-US" altLang="zh-CN" sz="3200" b="1" dirty="0" err="1">
                <a:latin typeface="+mj-lt"/>
                <a:ea typeface="+mj-ea"/>
              </a:rPr>
              <a:t>iSQL</a:t>
            </a:r>
            <a:r>
              <a:rPr lang="en-US" altLang="zh-CN" sz="3200" b="1" dirty="0">
                <a:latin typeface="+mj-lt"/>
                <a:ea typeface="+mj-ea"/>
              </a:rPr>
              <a:t> language</a:t>
            </a:r>
            <a:endParaRPr lang="en-US" altLang="zh-CN" sz="3200" b="1" dirty="0">
              <a:latin typeface="+mj-lt"/>
              <a:ea typeface="+mj-ea"/>
            </a:endParaRPr>
          </a:p>
        </p:txBody>
      </p:sp>
      <p:pic>
        <p:nvPicPr>
          <p:cNvPr id="4" name="Picture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756536" y="1885838"/>
            <a:ext cx="6683300" cy="3505739"/>
          </a:xfrm>
          <a:prstGeom prst="rect">
            <a:avLst/>
          </a:prstGeom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本框 16"/>
          <p:cNvSpPr txBox="1"/>
          <p:nvPr/>
        </p:nvSpPr>
        <p:spPr>
          <a:xfrm>
            <a:off x="669923" y="915745"/>
            <a:ext cx="10850565" cy="628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3200" b="1" dirty="0">
                <a:latin typeface="+mj-lt"/>
                <a:ea typeface="+mj-ea"/>
              </a:rPr>
              <a:t>Oracle</a:t>
            </a:r>
            <a:r>
              <a:rPr lang="zh-CN" altLang="en-US" sz="3200" b="1" dirty="0">
                <a:latin typeface="+mj-lt"/>
                <a:ea typeface="+mj-ea"/>
              </a:rPr>
              <a:t>兼容</a:t>
            </a:r>
            <a:r>
              <a:rPr lang="en-US" altLang="zh-CN" sz="3200" b="1" dirty="0">
                <a:latin typeface="+mj-lt"/>
                <a:ea typeface="+mj-ea"/>
              </a:rPr>
              <a:t>-Package</a:t>
            </a:r>
            <a:endParaRPr lang="en-US" altLang="zh-CN" sz="3200" b="1" dirty="0">
              <a:latin typeface="+mj-lt"/>
              <a:ea typeface="+mj-ea"/>
            </a:endParaRPr>
          </a:p>
        </p:txBody>
      </p:sp>
      <p:pic>
        <p:nvPicPr>
          <p:cNvPr id="5" name="Picture 3"/>
          <p:cNvPicPr>
            <a:picLocks noChangeAspect="1"/>
          </p:cNvPicPr>
          <p:nvPr/>
        </p:nvPicPr>
        <p:blipFill rotWithShape="1">
          <a:blip r:embed="rId1"/>
          <a:srcRect r="34990"/>
          <a:stretch>
            <a:fillRect/>
          </a:stretch>
        </p:blipFill>
        <p:spPr>
          <a:xfrm>
            <a:off x="7420354" y="1167620"/>
            <a:ext cx="3695852" cy="4538699"/>
          </a:xfrm>
          <a:prstGeom prst="rect">
            <a:avLst/>
          </a:prstGeom>
        </p:spPr>
      </p:pic>
      <p:pic>
        <p:nvPicPr>
          <p:cNvPr id="6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1263" y="1704123"/>
            <a:ext cx="6125122" cy="3820077"/>
          </a:xfrm>
          <a:prstGeom prst="rect">
            <a:avLst/>
          </a:prstGeom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本框 16"/>
          <p:cNvSpPr txBox="1"/>
          <p:nvPr/>
        </p:nvSpPr>
        <p:spPr>
          <a:xfrm>
            <a:off x="669923" y="915745"/>
            <a:ext cx="10850565" cy="628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3200" b="1" dirty="0">
                <a:latin typeface="+mj-lt"/>
                <a:ea typeface="+mj-ea"/>
              </a:rPr>
              <a:t>Oracle</a:t>
            </a:r>
            <a:r>
              <a:rPr lang="zh-CN" altLang="en-US" sz="3200" b="1" dirty="0">
                <a:latin typeface="+mj-lt"/>
                <a:ea typeface="+mj-ea"/>
              </a:rPr>
              <a:t>兼容</a:t>
            </a:r>
            <a:r>
              <a:rPr lang="en-US" altLang="zh-CN" sz="3200" b="1" dirty="0">
                <a:latin typeface="+mj-lt"/>
                <a:ea typeface="+mj-ea"/>
              </a:rPr>
              <a:t>-</a:t>
            </a:r>
            <a:r>
              <a:rPr lang="zh-CN" altLang="en-US" sz="3200" b="1" dirty="0">
                <a:latin typeface="+mj-lt"/>
                <a:ea typeface="+mj-ea"/>
              </a:rPr>
              <a:t>数据类型和函数</a:t>
            </a:r>
            <a:endParaRPr lang="zh-CN" altLang="en-US" sz="3200" b="1" dirty="0">
              <a:latin typeface="+mj-lt"/>
              <a:ea typeface="+mj-ea"/>
            </a:endParaRPr>
          </a:p>
        </p:txBody>
      </p:sp>
      <p:grpSp>
        <p:nvGrpSpPr>
          <p:cNvPr id="9" name="组合 8"/>
          <p:cNvGrpSpPr/>
          <p:nvPr/>
        </p:nvGrpSpPr>
        <p:grpSpPr>
          <a:xfrm>
            <a:off x="1454524" y="2065427"/>
            <a:ext cx="4203628" cy="2762478"/>
            <a:chOff x="3560917" y="1970405"/>
            <a:chExt cx="5057467" cy="3323591"/>
          </a:xfrm>
        </p:grpSpPr>
        <p:sp>
          <p:nvSpPr>
            <p:cNvPr id="10" name="îṡlíḋe"/>
            <p:cNvSpPr/>
            <p:nvPr/>
          </p:nvSpPr>
          <p:spPr>
            <a:xfrm>
              <a:off x="3572019" y="2167927"/>
              <a:ext cx="5039579" cy="3126069"/>
            </a:xfrm>
            <a:custGeom>
              <a:avLst/>
              <a:gdLst>
                <a:gd name="connsiteX0" fmla="*/ 2946464 w 3113150"/>
                <a:gd name="connsiteY0" fmla="*/ 1931099 h 1931098"/>
                <a:gd name="connsiteX1" fmla="*/ 166688 w 3113150"/>
                <a:gd name="connsiteY1" fmla="*/ 1931099 h 1931098"/>
                <a:gd name="connsiteX2" fmla="*/ 0 w 3113150"/>
                <a:gd name="connsiteY2" fmla="*/ 1764411 h 1931098"/>
                <a:gd name="connsiteX3" fmla="*/ 0 w 3113150"/>
                <a:gd name="connsiteY3" fmla="*/ 124587 h 1931098"/>
                <a:gd name="connsiteX4" fmla="*/ 124682 w 3113150"/>
                <a:gd name="connsiteY4" fmla="*/ 0 h 1931098"/>
                <a:gd name="connsiteX5" fmla="*/ 2986469 w 3113150"/>
                <a:gd name="connsiteY5" fmla="*/ 0 h 1931098"/>
                <a:gd name="connsiteX6" fmla="*/ 3113151 w 3113150"/>
                <a:gd name="connsiteY6" fmla="*/ 126587 h 1931098"/>
                <a:gd name="connsiteX7" fmla="*/ 3113151 w 3113150"/>
                <a:gd name="connsiteY7" fmla="*/ 1764887 h 1931098"/>
                <a:gd name="connsiteX8" fmla="*/ 2946464 w 3113150"/>
                <a:gd name="connsiteY8" fmla="*/ 1931099 h 1931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13150" h="1931098">
                  <a:moveTo>
                    <a:pt x="2946464" y="1931099"/>
                  </a:moveTo>
                  <a:lnTo>
                    <a:pt x="166688" y="1931099"/>
                  </a:lnTo>
                  <a:cubicBezTo>
                    <a:pt x="74676" y="1930994"/>
                    <a:pt x="105" y="1856423"/>
                    <a:pt x="0" y="1764411"/>
                  </a:cubicBezTo>
                  <a:lnTo>
                    <a:pt x="0" y="124587"/>
                  </a:lnTo>
                  <a:cubicBezTo>
                    <a:pt x="105" y="55786"/>
                    <a:pt x="55883" y="52"/>
                    <a:pt x="124682" y="0"/>
                  </a:cubicBezTo>
                  <a:lnTo>
                    <a:pt x="2986469" y="0"/>
                  </a:lnTo>
                  <a:cubicBezTo>
                    <a:pt x="3056392" y="0"/>
                    <a:pt x="3113103" y="56659"/>
                    <a:pt x="3113151" y="126587"/>
                  </a:cubicBezTo>
                  <a:lnTo>
                    <a:pt x="3113151" y="1764887"/>
                  </a:lnTo>
                  <a:cubicBezTo>
                    <a:pt x="3112780" y="1856718"/>
                    <a:pt x="3038294" y="1930994"/>
                    <a:pt x="2946464" y="193109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îšļíḓè"/>
            <p:cNvSpPr/>
            <p:nvPr/>
          </p:nvSpPr>
          <p:spPr>
            <a:xfrm>
              <a:off x="3572019" y="2167927"/>
              <a:ext cx="5039579" cy="3126069"/>
            </a:xfrm>
            <a:custGeom>
              <a:avLst/>
              <a:gdLst>
                <a:gd name="connsiteX0" fmla="*/ 2946464 w 3113150"/>
                <a:gd name="connsiteY0" fmla="*/ 1931099 h 1931098"/>
                <a:gd name="connsiteX1" fmla="*/ 166688 w 3113150"/>
                <a:gd name="connsiteY1" fmla="*/ 1931099 h 1931098"/>
                <a:gd name="connsiteX2" fmla="*/ 0 w 3113150"/>
                <a:gd name="connsiteY2" fmla="*/ 1764411 h 1931098"/>
                <a:gd name="connsiteX3" fmla="*/ 0 w 3113150"/>
                <a:gd name="connsiteY3" fmla="*/ 124587 h 1931098"/>
                <a:gd name="connsiteX4" fmla="*/ 124682 w 3113150"/>
                <a:gd name="connsiteY4" fmla="*/ 0 h 1931098"/>
                <a:gd name="connsiteX5" fmla="*/ 2986469 w 3113150"/>
                <a:gd name="connsiteY5" fmla="*/ 0 h 1931098"/>
                <a:gd name="connsiteX6" fmla="*/ 3113151 w 3113150"/>
                <a:gd name="connsiteY6" fmla="*/ 126587 h 1931098"/>
                <a:gd name="connsiteX7" fmla="*/ 3113151 w 3113150"/>
                <a:gd name="connsiteY7" fmla="*/ 1764887 h 1931098"/>
                <a:gd name="connsiteX8" fmla="*/ 2946464 w 3113150"/>
                <a:gd name="connsiteY8" fmla="*/ 1931099 h 1931098"/>
                <a:gd name="connsiteX9" fmla="*/ 124682 w 3113150"/>
                <a:gd name="connsiteY9" fmla="*/ 19050 h 1931098"/>
                <a:gd name="connsiteX10" fmla="*/ 19050 w 3113150"/>
                <a:gd name="connsiteY10" fmla="*/ 124587 h 1931098"/>
                <a:gd name="connsiteX11" fmla="*/ 19050 w 3113150"/>
                <a:gd name="connsiteY11" fmla="*/ 1764411 h 1931098"/>
                <a:gd name="connsiteX12" fmla="*/ 166688 w 3113150"/>
                <a:gd name="connsiteY12" fmla="*/ 1912049 h 1931098"/>
                <a:gd name="connsiteX13" fmla="*/ 2946464 w 3113150"/>
                <a:gd name="connsiteY13" fmla="*/ 1912049 h 1931098"/>
                <a:gd name="connsiteX14" fmla="*/ 3094101 w 3113150"/>
                <a:gd name="connsiteY14" fmla="*/ 1764411 h 1931098"/>
                <a:gd name="connsiteX15" fmla="*/ 3094101 w 3113150"/>
                <a:gd name="connsiteY15" fmla="*/ 126587 h 1931098"/>
                <a:gd name="connsiteX16" fmla="*/ 2986469 w 3113150"/>
                <a:gd name="connsiteY16" fmla="*/ 19050 h 1931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113150" h="1931098">
                  <a:moveTo>
                    <a:pt x="2946464" y="1931099"/>
                  </a:moveTo>
                  <a:lnTo>
                    <a:pt x="166688" y="1931099"/>
                  </a:lnTo>
                  <a:cubicBezTo>
                    <a:pt x="74676" y="1930994"/>
                    <a:pt x="105" y="1856423"/>
                    <a:pt x="0" y="1764411"/>
                  </a:cubicBezTo>
                  <a:lnTo>
                    <a:pt x="0" y="124587"/>
                  </a:lnTo>
                  <a:cubicBezTo>
                    <a:pt x="105" y="55786"/>
                    <a:pt x="55883" y="52"/>
                    <a:pt x="124682" y="0"/>
                  </a:cubicBezTo>
                  <a:lnTo>
                    <a:pt x="2986469" y="0"/>
                  </a:lnTo>
                  <a:cubicBezTo>
                    <a:pt x="3056392" y="0"/>
                    <a:pt x="3113103" y="56659"/>
                    <a:pt x="3113151" y="126587"/>
                  </a:cubicBezTo>
                  <a:lnTo>
                    <a:pt x="3113151" y="1764887"/>
                  </a:lnTo>
                  <a:cubicBezTo>
                    <a:pt x="3112780" y="1856718"/>
                    <a:pt x="3038294" y="1930994"/>
                    <a:pt x="2946464" y="1931099"/>
                  </a:cubicBezTo>
                  <a:close/>
                  <a:moveTo>
                    <a:pt x="124682" y="19050"/>
                  </a:moveTo>
                  <a:cubicBezTo>
                    <a:pt x="66380" y="19050"/>
                    <a:pt x="19107" y="66285"/>
                    <a:pt x="19050" y="124587"/>
                  </a:cubicBezTo>
                  <a:lnTo>
                    <a:pt x="19050" y="1764411"/>
                  </a:lnTo>
                  <a:cubicBezTo>
                    <a:pt x="19212" y="1845888"/>
                    <a:pt x="85211" y="1911887"/>
                    <a:pt x="166688" y="1912049"/>
                  </a:cubicBezTo>
                  <a:lnTo>
                    <a:pt x="2946464" y="1912049"/>
                  </a:lnTo>
                  <a:cubicBezTo>
                    <a:pt x="3027960" y="1911944"/>
                    <a:pt x="3093996" y="1845907"/>
                    <a:pt x="3094101" y="1764411"/>
                  </a:cubicBezTo>
                  <a:lnTo>
                    <a:pt x="3094101" y="126587"/>
                  </a:lnTo>
                  <a:cubicBezTo>
                    <a:pt x="3093996" y="67203"/>
                    <a:pt x="3045857" y="19102"/>
                    <a:pt x="2986469" y="19050"/>
                  </a:cubicBezTo>
                  <a:close/>
                </a:path>
              </a:pathLst>
            </a:custGeom>
            <a:solidFill>
              <a:srgbClr val="3F3D5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îslíḋè"/>
            <p:cNvSpPr/>
            <p:nvPr/>
          </p:nvSpPr>
          <p:spPr>
            <a:xfrm>
              <a:off x="3841852" y="2594881"/>
              <a:ext cx="4499910" cy="2429279"/>
            </a:xfrm>
            <a:custGeom>
              <a:avLst/>
              <a:gdLst>
                <a:gd name="connsiteX0" fmla="*/ 152400 w 2779775"/>
                <a:gd name="connsiteY0" fmla="*/ 1500664 h 1500663"/>
                <a:gd name="connsiteX1" fmla="*/ 2627376 w 2779775"/>
                <a:gd name="connsiteY1" fmla="*/ 1500664 h 1500663"/>
                <a:gd name="connsiteX2" fmla="*/ 2779776 w 2779775"/>
                <a:gd name="connsiteY2" fmla="*/ 1348264 h 1500663"/>
                <a:gd name="connsiteX3" fmla="*/ 2779776 w 2779775"/>
                <a:gd name="connsiteY3" fmla="*/ 152400 h 1500663"/>
                <a:gd name="connsiteX4" fmla="*/ 2627376 w 2779775"/>
                <a:gd name="connsiteY4" fmla="*/ 0 h 1500663"/>
                <a:gd name="connsiteX5" fmla="*/ 152400 w 2779775"/>
                <a:gd name="connsiteY5" fmla="*/ 0 h 1500663"/>
                <a:gd name="connsiteX6" fmla="*/ 0 w 2779775"/>
                <a:gd name="connsiteY6" fmla="*/ 152400 h 1500663"/>
                <a:gd name="connsiteX7" fmla="*/ 0 w 2779775"/>
                <a:gd name="connsiteY7" fmla="*/ 1348264 h 1500663"/>
                <a:gd name="connsiteX8" fmla="*/ 152400 w 2779775"/>
                <a:gd name="connsiteY8" fmla="*/ 1500664 h 1500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79775" h="1500663">
                  <a:moveTo>
                    <a:pt x="152400" y="1500664"/>
                  </a:moveTo>
                  <a:lnTo>
                    <a:pt x="2627376" y="1500664"/>
                  </a:lnTo>
                  <a:cubicBezTo>
                    <a:pt x="2711548" y="1500664"/>
                    <a:pt x="2779776" y="1432436"/>
                    <a:pt x="2779776" y="1348264"/>
                  </a:cubicBezTo>
                  <a:lnTo>
                    <a:pt x="2779776" y="152400"/>
                  </a:lnTo>
                  <a:cubicBezTo>
                    <a:pt x="2779776" y="68231"/>
                    <a:pt x="2711548" y="0"/>
                    <a:pt x="2627376" y="0"/>
                  </a:cubicBezTo>
                  <a:lnTo>
                    <a:pt x="152400" y="0"/>
                  </a:lnTo>
                  <a:cubicBezTo>
                    <a:pt x="68228" y="0"/>
                    <a:pt x="0" y="68231"/>
                    <a:pt x="0" y="152400"/>
                  </a:cubicBezTo>
                  <a:lnTo>
                    <a:pt x="0" y="1348264"/>
                  </a:lnTo>
                  <a:cubicBezTo>
                    <a:pt x="0" y="1432436"/>
                    <a:pt x="68228" y="1500664"/>
                    <a:pt x="152400" y="1500664"/>
                  </a:cubicBezTo>
                  <a:close/>
                </a:path>
              </a:pathLst>
            </a:custGeom>
            <a:solidFill>
              <a:srgbClr val="F2F2F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ís1iḓé"/>
            <p:cNvSpPr/>
            <p:nvPr/>
          </p:nvSpPr>
          <p:spPr>
            <a:xfrm>
              <a:off x="3560917" y="1970405"/>
              <a:ext cx="5057467" cy="385479"/>
            </a:xfrm>
            <a:custGeom>
              <a:avLst/>
              <a:gdLst>
                <a:gd name="connsiteX0" fmla="*/ 3124200 w 3124200"/>
                <a:gd name="connsiteY0" fmla="*/ 238127 h 238126"/>
                <a:gd name="connsiteX1" fmla="*/ 0 w 3124200"/>
                <a:gd name="connsiteY1" fmla="*/ 238127 h 238126"/>
                <a:gd name="connsiteX2" fmla="*/ 0 w 3124200"/>
                <a:gd name="connsiteY2" fmla="*/ 158117 h 238126"/>
                <a:gd name="connsiteX3" fmla="*/ 159258 w 3124200"/>
                <a:gd name="connsiteY3" fmla="*/ 1 h 238126"/>
                <a:gd name="connsiteX4" fmla="*/ 159448 w 3124200"/>
                <a:gd name="connsiteY4" fmla="*/ 2 h 238126"/>
                <a:gd name="connsiteX5" fmla="*/ 2964752 w 3124200"/>
                <a:gd name="connsiteY5" fmla="*/ 2 h 238126"/>
                <a:gd name="connsiteX6" fmla="*/ 3124200 w 3124200"/>
                <a:gd name="connsiteY6" fmla="*/ 157641 h 238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24200" h="238126">
                  <a:moveTo>
                    <a:pt x="3124200" y="238127"/>
                  </a:moveTo>
                  <a:lnTo>
                    <a:pt x="0" y="238127"/>
                  </a:lnTo>
                  <a:lnTo>
                    <a:pt x="0" y="158117"/>
                  </a:lnTo>
                  <a:cubicBezTo>
                    <a:pt x="314" y="70477"/>
                    <a:pt x="71619" y="-314"/>
                    <a:pt x="159258" y="1"/>
                  </a:cubicBezTo>
                  <a:cubicBezTo>
                    <a:pt x="159315" y="1"/>
                    <a:pt x="159382" y="2"/>
                    <a:pt x="159448" y="2"/>
                  </a:cubicBezTo>
                  <a:lnTo>
                    <a:pt x="2964752" y="2"/>
                  </a:lnTo>
                  <a:cubicBezTo>
                    <a:pt x="3052277" y="-420"/>
                    <a:pt x="3123619" y="70112"/>
                    <a:pt x="3124200" y="157641"/>
                  </a:cubicBezTo>
                  <a:close/>
                </a:path>
              </a:pathLst>
            </a:custGeom>
            <a:solidFill>
              <a:srgbClr val="848EE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îṥḷiďê"/>
            <p:cNvSpPr/>
            <p:nvPr/>
          </p:nvSpPr>
          <p:spPr>
            <a:xfrm>
              <a:off x="3982013" y="2097153"/>
              <a:ext cx="131986" cy="131988"/>
            </a:xfrm>
            <a:custGeom>
              <a:avLst/>
              <a:gdLst>
                <a:gd name="connsiteX0" fmla="*/ 81534 w 81533"/>
                <a:gd name="connsiteY0" fmla="*/ 40767 h 81534"/>
                <a:gd name="connsiteX1" fmla="*/ 40767 w 81533"/>
                <a:gd name="connsiteY1" fmla="*/ 81534 h 81534"/>
                <a:gd name="connsiteX2" fmla="*/ 0 w 81533"/>
                <a:gd name="connsiteY2" fmla="*/ 40767 h 81534"/>
                <a:gd name="connsiteX3" fmla="*/ 40767 w 81533"/>
                <a:gd name="connsiteY3" fmla="*/ 0 h 81534"/>
                <a:gd name="connsiteX4" fmla="*/ 81534 w 81533"/>
                <a:gd name="connsiteY4" fmla="*/ 40767 h 81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533" h="81534">
                  <a:moveTo>
                    <a:pt x="81534" y="40767"/>
                  </a:moveTo>
                  <a:cubicBezTo>
                    <a:pt x="81534" y="63282"/>
                    <a:pt x="63282" y="81534"/>
                    <a:pt x="40767" y="81534"/>
                  </a:cubicBezTo>
                  <a:cubicBezTo>
                    <a:pt x="18252" y="81534"/>
                    <a:pt x="0" y="63282"/>
                    <a:pt x="0" y="40767"/>
                  </a:cubicBezTo>
                  <a:cubicBezTo>
                    <a:pt x="0" y="18252"/>
                    <a:pt x="18252" y="0"/>
                    <a:pt x="40767" y="0"/>
                  </a:cubicBezTo>
                  <a:cubicBezTo>
                    <a:pt x="63282" y="0"/>
                    <a:pt x="81534" y="18252"/>
                    <a:pt x="81534" y="40767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îṣlíḍê"/>
            <p:cNvSpPr/>
            <p:nvPr/>
          </p:nvSpPr>
          <p:spPr>
            <a:xfrm>
              <a:off x="4232727" y="2097153"/>
              <a:ext cx="131986" cy="131988"/>
            </a:xfrm>
            <a:custGeom>
              <a:avLst/>
              <a:gdLst>
                <a:gd name="connsiteX0" fmla="*/ 81534 w 81533"/>
                <a:gd name="connsiteY0" fmla="*/ 40767 h 81534"/>
                <a:gd name="connsiteX1" fmla="*/ 40767 w 81533"/>
                <a:gd name="connsiteY1" fmla="*/ 81534 h 81534"/>
                <a:gd name="connsiteX2" fmla="*/ 0 w 81533"/>
                <a:gd name="connsiteY2" fmla="*/ 40767 h 81534"/>
                <a:gd name="connsiteX3" fmla="*/ 40767 w 81533"/>
                <a:gd name="connsiteY3" fmla="*/ 0 h 81534"/>
                <a:gd name="connsiteX4" fmla="*/ 81534 w 81533"/>
                <a:gd name="connsiteY4" fmla="*/ 40767 h 81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533" h="81534">
                  <a:moveTo>
                    <a:pt x="81534" y="40767"/>
                  </a:moveTo>
                  <a:cubicBezTo>
                    <a:pt x="81534" y="63282"/>
                    <a:pt x="63282" y="81534"/>
                    <a:pt x="40767" y="81534"/>
                  </a:cubicBezTo>
                  <a:cubicBezTo>
                    <a:pt x="18252" y="81534"/>
                    <a:pt x="0" y="63282"/>
                    <a:pt x="0" y="40767"/>
                  </a:cubicBezTo>
                  <a:cubicBezTo>
                    <a:pt x="0" y="18252"/>
                    <a:pt x="18252" y="0"/>
                    <a:pt x="40767" y="0"/>
                  </a:cubicBezTo>
                  <a:cubicBezTo>
                    <a:pt x="63282" y="0"/>
                    <a:pt x="81534" y="18252"/>
                    <a:pt x="81534" y="40767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ísḷíḓè"/>
            <p:cNvSpPr/>
            <p:nvPr/>
          </p:nvSpPr>
          <p:spPr>
            <a:xfrm>
              <a:off x="4483289" y="2097153"/>
              <a:ext cx="131986" cy="131988"/>
            </a:xfrm>
            <a:custGeom>
              <a:avLst/>
              <a:gdLst>
                <a:gd name="connsiteX0" fmla="*/ 81534 w 81533"/>
                <a:gd name="connsiteY0" fmla="*/ 40767 h 81534"/>
                <a:gd name="connsiteX1" fmla="*/ 40767 w 81533"/>
                <a:gd name="connsiteY1" fmla="*/ 81534 h 81534"/>
                <a:gd name="connsiteX2" fmla="*/ 0 w 81533"/>
                <a:gd name="connsiteY2" fmla="*/ 40767 h 81534"/>
                <a:gd name="connsiteX3" fmla="*/ 40767 w 81533"/>
                <a:gd name="connsiteY3" fmla="*/ 0 h 81534"/>
                <a:gd name="connsiteX4" fmla="*/ 81534 w 81533"/>
                <a:gd name="connsiteY4" fmla="*/ 40767 h 81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533" h="81534">
                  <a:moveTo>
                    <a:pt x="81534" y="40767"/>
                  </a:moveTo>
                  <a:cubicBezTo>
                    <a:pt x="81534" y="63282"/>
                    <a:pt x="63282" y="81534"/>
                    <a:pt x="40767" y="81534"/>
                  </a:cubicBezTo>
                  <a:cubicBezTo>
                    <a:pt x="18252" y="81534"/>
                    <a:pt x="0" y="63282"/>
                    <a:pt x="0" y="40767"/>
                  </a:cubicBezTo>
                  <a:cubicBezTo>
                    <a:pt x="0" y="18252"/>
                    <a:pt x="18252" y="0"/>
                    <a:pt x="40767" y="0"/>
                  </a:cubicBezTo>
                  <a:cubicBezTo>
                    <a:pt x="63282" y="0"/>
                    <a:pt x="81534" y="18252"/>
                    <a:pt x="81534" y="40767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7" name="文本框 6"/>
          <p:cNvSpPr txBox="1"/>
          <p:nvPr/>
        </p:nvSpPr>
        <p:spPr>
          <a:xfrm>
            <a:off x="1842549" y="2764535"/>
            <a:ext cx="3642101" cy="153272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zh-CN" altLang="en-US" b="1" dirty="0"/>
              <a:t>Oracle数据类型</a:t>
            </a:r>
            <a:endParaRPr lang="zh-CN" altLang="en-US" b="1" dirty="0"/>
          </a:p>
          <a:p>
            <a:pPr marL="742950" lvl="1" indent="-285750">
              <a:lnSpc>
                <a:spcPct val="130000"/>
              </a:lnSpc>
              <a:buFont typeface="Wingdings" panose="05000000000000000000" charset="0"/>
              <a:buChar char="n"/>
            </a:pPr>
            <a:r>
              <a:rPr lang="zh-CN" altLang="en-US" dirty="0"/>
              <a:t>VARCHAR2（n）</a:t>
            </a:r>
            <a:endParaRPr lang="zh-CN" altLang="en-US" dirty="0"/>
          </a:p>
          <a:p>
            <a:pPr marL="742950" lvl="1" indent="-285750">
              <a:lnSpc>
                <a:spcPct val="130000"/>
              </a:lnSpc>
              <a:buFont typeface="Wingdings" panose="05000000000000000000" charset="0"/>
              <a:buChar char="n"/>
            </a:pPr>
            <a:r>
              <a:rPr lang="zh-CN" altLang="en-US" dirty="0"/>
              <a:t>NVARCHAR2（n）</a:t>
            </a:r>
            <a:endParaRPr lang="zh-CN" altLang="en-US" dirty="0"/>
          </a:p>
          <a:p>
            <a:pPr marL="742950" lvl="1" indent="-285750">
              <a:lnSpc>
                <a:spcPct val="130000"/>
              </a:lnSpc>
              <a:buFont typeface="Wingdings" panose="05000000000000000000" charset="0"/>
              <a:buChar char="n"/>
            </a:pPr>
            <a:r>
              <a:rPr lang="en-US" altLang="zh-CN" dirty="0"/>
              <a:t>NUMBER </a:t>
            </a:r>
            <a:r>
              <a:rPr lang="zh-CN" altLang="en-US" dirty="0"/>
              <a:t>[（p[，s]）]</a:t>
            </a:r>
            <a:endParaRPr lang="zh-CN" altLang="en-US" dirty="0"/>
          </a:p>
        </p:txBody>
      </p:sp>
      <p:grpSp>
        <p:nvGrpSpPr>
          <p:cNvPr id="32" name="组合 31"/>
          <p:cNvGrpSpPr/>
          <p:nvPr/>
        </p:nvGrpSpPr>
        <p:grpSpPr>
          <a:xfrm>
            <a:off x="6423733" y="2065427"/>
            <a:ext cx="4203628" cy="2762478"/>
            <a:chOff x="3560917" y="1970405"/>
            <a:chExt cx="5057467" cy="3323591"/>
          </a:xfrm>
        </p:grpSpPr>
        <p:sp>
          <p:nvSpPr>
            <p:cNvPr id="33" name="îṡlíḋe"/>
            <p:cNvSpPr/>
            <p:nvPr/>
          </p:nvSpPr>
          <p:spPr>
            <a:xfrm>
              <a:off x="3572019" y="2167927"/>
              <a:ext cx="5039579" cy="3126069"/>
            </a:xfrm>
            <a:custGeom>
              <a:avLst/>
              <a:gdLst>
                <a:gd name="connsiteX0" fmla="*/ 2946464 w 3113150"/>
                <a:gd name="connsiteY0" fmla="*/ 1931099 h 1931098"/>
                <a:gd name="connsiteX1" fmla="*/ 166688 w 3113150"/>
                <a:gd name="connsiteY1" fmla="*/ 1931099 h 1931098"/>
                <a:gd name="connsiteX2" fmla="*/ 0 w 3113150"/>
                <a:gd name="connsiteY2" fmla="*/ 1764411 h 1931098"/>
                <a:gd name="connsiteX3" fmla="*/ 0 w 3113150"/>
                <a:gd name="connsiteY3" fmla="*/ 124587 h 1931098"/>
                <a:gd name="connsiteX4" fmla="*/ 124682 w 3113150"/>
                <a:gd name="connsiteY4" fmla="*/ 0 h 1931098"/>
                <a:gd name="connsiteX5" fmla="*/ 2986469 w 3113150"/>
                <a:gd name="connsiteY5" fmla="*/ 0 h 1931098"/>
                <a:gd name="connsiteX6" fmla="*/ 3113151 w 3113150"/>
                <a:gd name="connsiteY6" fmla="*/ 126587 h 1931098"/>
                <a:gd name="connsiteX7" fmla="*/ 3113151 w 3113150"/>
                <a:gd name="connsiteY7" fmla="*/ 1764887 h 1931098"/>
                <a:gd name="connsiteX8" fmla="*/ 2946464 w 3113150"/>
                <a:gd name="connsiteY8" fmla="*/ 1931099 h 1931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13150" h="1931098">
                  <a:moveTo>
                    <a:pt x="2946464" y="1931099"/>
                  </a:moveTo>
                  <a:lnTo>
                    <a:pt x="166688" y="1931099"/>
                  </a:lnTo>
                  <a:cubicBezTo>
                    <a:pt x="74676" y="1930994"/>
                    <a:pt x="105" y="1856423"/>
                    <a:pt x="0" y="1764411"/>
                  </a:cubicBezTo>
                  <a:lnTo>
                    <a:pt x="0" y="124587"/>
                  </a:lnTo>
                  <a:cubicBezTo>
                    <a:pt x="105" y="55786"/>
                    <a:pt x="55883" y="52"/>
                    <a:pt x="124682" y="0"/>
                  </a:cubicBezTo>
                  <a:lnTo>
                    <a:pt x="2986469" y="0"/>
                  </a:lnTo>
                  <a:cubicBezTo>
                    <a:pt x="3056392" y="0"/>
                    <a:pt x="3113103" y="56659"/>
                    <a:pt x="3113151" y="126587"/>
                  </a:cubicBezTo>
                  <a:lnTo>
                    <a:pt x="3113151" y="1764887"/>
                  </a:lnTo>
                  <a:cubicBezTo>
                    <a:pt x="3112780" y="1856718"/>
                    <a:pt x="3038294" y="1930994"/>
                    <a:pt x="2946464" y="193109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îšļíḓè"/>
            <p:cNvSpPr/>
            <p:nvPr/>
          </p:nvSpPr>
          <p:spPr>
            <a:xfrm>
              <a:off x="3572019" y="2167927"/>
              <a:ext cx="5039579" cy="3126069"/>
            </a:xfrm>
            <a:custGeom>
              <a:avLst/>
              <a:gdLst>
                <a:gd name="connsiteX0" fmla="*/ 2946464 w 3113150"/>
                <a:gd name="connsiteY0" fmla="*/ 1931099 h 1931098"/>
                <a:gd name="connsiteX1" fmla="*/ 166688 w 3113150"/>
                <a:gd name="connsiteY1" fmla="*/ 1931099 h 1931098"/>
                <a:gd name="connsiteX2" fmla="*/ 0 w 3113150"/>
                <a:gd name="connsiteY2" fmla="*/ 1764411 h 1931098"/>
                <a:gd name="connsiteX3" fmla="*/ 0 w 3113150"/>
                <a:gd name="connsiteY3" fmla="*/ 124587 h 1931098"/>
                <a:gd name="connsiteX4" fmla="*/ 124682 w 3113150"/>
                <a:gd name="connsiteY4" fmla="*/ 0 h 1931098"/>
                <a:gd name="connsiteX5" fmla="*/ 2986469 w 3113150"/>
                <a:gd name="connsiteY5" fmla="*/ 0 h 1931098"/>
                <a:gd name="connsiteX6" fmla="*/ 3113151 w 3113150"/>
                <a:gd name="connsiteY6" fmla="*/ 126587 h 1931098"/>
                <a:gd name="connsiteX7" fmla="*/ 3113151 w 3113150"/>
                <a:gd name="connsiteY7" fmla="*/ 1764887 h 1931098"/>
                <a:gd name="connsiteX8" fmla="*/ 2946464 w 3113150"/>
                <a:gd name="connsiteY8" fmla="*/ 1931099 h 1931098"/>
                <a:gd name="connsiteX9" fmla="*/ 124682 w 3113150"/>
                <a:gd name="connsiteY9" fmla="*/ 19050 h 1931098"/>
                <a:gd name="connsiteX10" fmla="*/ 19050 w 3113150"/>
                <a:gd name="connsiteY10" fmla="*/ 124587 h 1931098"/>
                <a:gd name="connsiteX11" fmla="*/ 19050 w 3113150"/>
                <a:gd name="connsiteY11" fmla="*/ 1764411 h 1931098"/>
                <a:gd name="connsiteX12" fmla="*/ 166688 w 3113150"/>
                <a:gd name="connsiteY12" fmla="*/ 1912049 h 1931098"/>
                <a:gd name="connsiteX13" fmla="*/ 2946464 w 3113150"/>
                <a:gd name="connsiteY13" fmla="*/ 1912049 h 1931098"/>
                <a:gd name="connsiteX14" fmla="*/ 3094101 w 3113150"/>
                <a:gd name="connsiteY14" fmla="*/ 1764411 h 1931098"/>
                <a:gd name="connsiteX15" fmla="*/ 3094101 w 3113150"/>
                <a:gd name="connsiteY15" fmla="*/ 126587 h 1931098"/>
                <a:gd name="connsiteX16" fmla="*/ 2986469 w 3113150"/>
                <a:gd name="connsiteY16" fmla="*/ 19050 h 1931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113150" h="1931098">
                  <a:moveTo>
                    <a:pt x="2946464" y="1931099"/>
                  </a:moveTo>
                  <a:lnTo>
                    <a:pt x="166688" y="1931099"/>
                  </a:lnTo>
                  <a:cubicBezTo>
                    <a:pt x="74676" y="1930994"/>
                    <a:pt x="105" y="1856423"/>
                    <a:pt x="0" y="1764411"/>
                  </a:cubicBezTo>
                  <a:lnTo>
                    <a:pt x="0" y="124587"/>
                  </a:lnTo>
                  <a:cubicBezTo>
                    <a:pt x="105" y="55786"/>
                    <a:pt x="55883" y="52"/>
                    <a:pt x="124682" y="0"/>
                  </a:cubicBezTo>
                  <a:lnTo>
                    <a:pt x="2986469" y="0"/>
                  </a:lnTo>
                  <a:cubicBezTo>
                    <a:pt x="3056392" y="0"/>
                    <a:pt x="3113103" y="56659"/>
                    <a:pt x="3113151" y="126587"/>
                  </a:cubicBezTo>
                  <a:lnTo>
                    <a:pt x="3113151" y="1764887"/>
                  </a:lnTo>
                  <a:cubicBezTo>
                    <a:pt x="3112780" y="1856718"/>
                    <a:pt x="3038294" y="1930994"/>
                    <a:pt x="2946464" y="1931099"/>
                  </a:cubicBezTo>
                  <a:close/>
                  <a:moveTo>
                    <a:pt x="124682" y="19050"/>
                  </a:moveTo>
                  <a:cubicBezTo>
                    <a:pt x="66380" y="19050"/>
                    <a:pt x="19107" y="66285"/>
                    <a:pt x="19050" y="124587"/>
                  </a:cubicBezTo>
                  <a:lnTo>
                    <a:pt x="19050" y="1764411"/>
                  </a:lnTo>
                  <a:cubicBezTo>
                    <a:pt x="19212" y="1845888"/>
                    <a:pt x="85211" y="1911887"/>
                    <a:pt x="166688" y="1912049"/>
                  </a:cubicBezTo>
                  <a:lnTo>
                    <a:pt x="2946464" y="1912049"/>
                  </a:lnTo>
                  <a:cubicBezTo>
                    <a:pt x="3027960" y="1911944"/>
                    <a:pt x="3093996" y="1845907"/>
                    <a:pt x="3094101" y="1764411"/>
                  </a:cubicBezTo>
                  <a:lnTo>
                    <a:pt x="3094101" y="126587"/>
                  </a:lnTo>
                  <a:cubicBezTo>
                    <a:pt x="3093996" y="67203"/>
                    <a:pt x="3045857" y="19102"/>
                    <a:pt x="2986469" y="19050"/>
                  </a:cubicBezTo>
                  <a:close/>
                </a:path>
              </a:pathLst>
            </a:custGeom>
            <a:solidFill>
              <a:srgbClr val="3F3D5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îslíḋè"/>
            <p:cNvSpPr/>
            <p:nvPr/>
          </p:nvSpPr>
          <p:spPr>
            <a:xfrm>
              <a:off x="3841852" y="2594881"/>
              <a:ext cx="4499910" cy="2429279"/>
            </a:xfrm>
            <a:custGeom>
              <a:avLst/>
              <a:gdLst>
                <a:gd name="connsiteX0" fmla="*/ 152400 w 2779775"/>
                <a:gd name="connsiteY0" fmla="*/ 1500664 h 1500663"/>
                <a:gd name="connsiteX1" fmla="*/ 2627376 w 2779775"/>
                <a:gd name="connsiteY1" fmla="*/ 1500664 h 1500663"/>
                <a:gd name="connsiteX2" fmla="*/ 2779776 w 2779775"/>
                <a:gd name="connsiteY2" fmla="*/ 1348264 h 1500663"/>
                <a:gd name="connsiteX3" fmla="*/ 2779776 w 2779775"/>
                <a:gd name="connsiteY3" fmla="*/ 152400 h 1500663"/>
                <a:gd name="connsiteX4" fmla="*/ 2627376 w 2779775"/>
                <a:gd name="connsiteY4" fmla="*/ 0 h 1500663"/>
                <a:gd name="connsiteX5" fmla="*/ 152400 w 2779775"/>
                <a:gd name="connsiteY5" fmla="*/ 0 h 1500663"/>
                <a:gd name="connsiteX6" fmla="*/ 0 w 2779775"/>
                <a:gd name="connsiteY6" fmla="*/ 152400 h 1500663"/>
                <a:gd name="connsiteX7" fmla="*/ 0 w 2779775"/>
                <a:gd name="connsiteY7" fmla="*/ 1348264 h 1500663"/>
                <a:gd name="connsiteX8" fmla="*/ 152400 w 2779775"/>
                <a:gd name="connsiteY8" fmla="*/ 1500664 h 1500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79775" h="1500663">
                  <a:moveTo>
                    <a:pt x="152400" y="1500664"/>
                  </a:moveTo>
                  <a:lnTo>
                    <a:pt x="2627376" y="1500664"/>
                  </a:lnTo>
                  <a:cubicBezTo>
                    <a:pt x="2711548" y="1500664"/>
                    <a:pt x="2779776" y="1432436"/>
                    <a:pt x="2779776" y="1348264"/>
                  </a:cubicBezTo>
                  <a:lnTo>
                    <a:pt x="2779776" y="152400"/>
                  </a:lnTo>
                  <a:cubicBezTo>
                    <a:pt x="2779776" y="68231"/>
                    <a:pt x="2711548" y="0"/>
                    <a:pt x="2627376" y="0"/>
                  </a:cubicBezTo>
                  <a:lnTo>
                    <a:pt x="152400" y="0"/>
                  </a:lnTo>
                  <a:cubicBezTo>
                    <a:pt x="68228" y="0"/>
                    <a:pt x="0" y="68231"/>
                    <a:pt x="0" y="152400"/>
                  </a:cubicBezTo>
                  <a:lnTo>
                    <a:pt x="0" y="1348264"/>
                  </a:lnTo>
                  <a:cubicBezTo>
                    <a:pt x="0" y="1432436"/>
                    <a:pt x="68228" y="1500664"/>
                    <a:pt x="152400" y="1500664"/>
                  </a:cubicBezTo>
                  <a:close/>
                </a:path>
              </a:pathLst>
            </a:custGeom>
            <a:solidFill>
              <a:srgbClr val="F2F2F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ís1iḓé"/>
            <p:cNvSpPr/>
            <p:nvPr/>
          </p:nvSpPr>
          <p:spPr>
            <a:xfrm>
              <a:off x="3560917" y="1970405"/>
              <a:ext cx="5057467" cy="385479"/>
            </a:xfrm>
            <a:custGeom>
              <a:avLst/>
              <a:gdLst>
                <a:gd name="connsiteX0" fmla="*/ 3124200 w 3124200"/>
                <a:gd name="connsiteY0" fmla="*/ 238127 h 238126"/>
                <a:gd name="connsiteX1" fmla="*/ 0 w 3124200"/>
                <a:gd name="connsiteY1" fmla="*/ 238127 h 238126"/>
                <a:gd name="connsiteX2" fmla="*/ 0 w 3124200"/>
                <a:gd name="connsiteY2" fmla="*/ 158117 h 238126"/>
                <a:gd name="connsiteX3" fmla="*/ 159258 w 3124200"/>
                <a:gd name="connsiteY3" fmla="*/ 1 h 238126"/>
                <a:gd name="connsiteX4" fmla="*/ 159448 w 3124200"/>
                <a:gd name="connsiteY4" fmla="*/ 2 h 238126"/>
                <a:gd name="connsiteX5" fmla="*/ 2964752 w 3124200"/>
                <a:gd name="connsiteY5" fmla="*/ 2 h 238126"/>
                <a:gd name="connsiteX6" fmla="*/ 3124200 w 3124200"/>
                <a:gd name="connsiteY6" fmla="*/ 157641 h 238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24200" h="238126">
                  <a:moveTo>
                    <a:pt x="3124200" y="238127"/>
                  </a:moveTo>
                  <a:lnTo>
                    <a:pt x="0" y="238127"/>
                  </a:lnTo>
                  <a:lnTo>
                    <a:pt x="0" y="158117"/>
                  </a:lnTo>
                  <a:cubicBezTo>
                    <a:pt x="314" y="70477"/>
                    <a:pt x="71619" y="-314"/>
                    <a:pt x="159258" y="1"/>
                  </a:cubicBezTo>
                  <a:cubicBezTo>
                    <a:pt x="159315" y="1"/>
                    <a:pt x="159382" y="2"/>
                    <a:pt x="159448" y="2"/>
                  </a:cubicBezTo>
                  <a:lnTo>
                    <a:pt x="2964752" y="2"/>
                  </a:lnTo>
                  <a:cubicBezTo>
                    <a:pt x="3052277" y="-420"/>
                    <a:pt x="3123619" y="70112"/>
                    <a:pt x="3124200" y="157641"/>
                  </a:cubicBezTo>
                  <a:close/>
                </a:path>
              </a:pathLst>
            </a:custGeom>
            <a:solidFill>
              <a:srgbClr val="848EE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îṥḷiďê"/>
            <p:cNvSpPr/>
            <p:nvPr/>
          </p:nvSpPr>
          <p:spPr>
            <a:xfrm>
              <a:off x="3982013" y="2097153"/>
              <a:ext cx="131986" cy="131988"/>
            </a:xfrm>
            <a:custGeom>
              <a:avLst/>
              <a:gdLst>
                <a:gd name="connsiteX0" fmla="*/ 81534 w 81533"/>
                <a:gd name="connsiteY0" fmla="*/ 40767 h 81534"/>
                <a:gd name="connsiteX1" fmla="*/ 40767 w 81533"/>
                <a:gd name="connsiteY1" fmla="*/ 81534 h 81534"/>
                <a:gd name="connsiteX2" fmla="*/ 0 w 81533"/>
                <a:gd name="connsiteY2" fmla="*/ 40767 h 81534"/>
                <a:gd name="connsiteX3" fmla="*/ 40767 w 81533"/>
                <a:gd name="connsiteY3" fmla="*/ 0 h 81534"/>
                <a:gd name="connsiteX4" fmla="*/ 81534 w 81533"/>
                <a:gd name="connsiteY4" fmla="*/ 40767 h 81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533" h="81534">
                  <a:moveTo>
                    <a:pt x="81534" y="40767"/>
                  </a:moveTo>
                  <a:cubicBezTo>
                    <a:pt x="81534" y="63282"/>
                    <a:pt x="63282" y="81534"/>
                    <a:pt x="40767" y="81534"/>
                  </a:cubicBezTo>
                  <a:cubicBezTo>
                    <a:pt x="18252" y="81534"/>
                    <a:pt x="0" y="63282"/>
                    <a:pt x="0" y="40767"/>
                  </a:cubicBezTo>
                  <a:cubicBezTo>
                    <a:pt x="0" y="18252"/>
                    <a:pt x="18252" y="0"/>
                    <a:pt x="40767" y="0"/>
                  </a:cubicBezTo>
                  <a:cubicBezTo>
                    <a:pt x="63282" y="0"/>
                    <a:pt x="81534" y="18252"/>
                    <a:pt x="81534" y="40767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îṣlíḍê"/>
            <p:cNvSpPr/>
            <p:nvPr/>
          </p:nvSpPr>
          <p:spPr>
            <a:xfrm>
              <a:off x="4232727" y="2097153"/>
              <a:ext cx="131986" cy="131988"/>
            </a:xfrm>
            <a:custGeom>
              <a:avLst/>
              <a:gdLst>
                <a:gd name="connsiteX0" fmla="*/ 81534 w 81533"/>
                <a:gd name="connsiteY0" fmla="*/ 40767 h 81534"/>
                <a:gd name="connsiteX1" fmla="*/ 40767 w 81533"/>
                <a:gd name="connsiteY1" fmla="*/ 81534 h 81534"/>
                <a:gd name="connsiteX2" fmla="*/ 0 w 81533"/>
                <a:gd name="connsiteY2" fmla="*/ 40767 h 81534"/>
                <a:gd name="connsiteX3" fmla="*/ 40767 w 81533"/>
                <a:gd name="connsiteY3" fmla="*/ 0 h 81534"/>
                <a:gd name="connsiteX4" fmla="*/ 81534 w 81533"/>
                <a:gd name="connsiteY4" fmla="*/ 40767 h 81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533" h="81534">
                  <a:moveTo>
                    <a:pt x="81534" y="40767"/>
                  </a:moveTo>
                  <a:cubicBezTo>
                    <a:pt x="81534" y="63282"/>
                    <a:pt x="63282" y="81534"/>
                    <a:pt x="40767" y="81534"/>
                  </a:cubicBezTo>
                  <a:cubicBezTo>
                    <a:pt x="18252" y="81534"/>
                    <a:pt x="0" y="63282"/>
                    <a:pt x="0" y="40767"/>
                  </a:cubicBezTo>
                  <a:cubicBezTo>
                    <a:pt x="0" y="18252"/>
                    <a:pt x="18252" y="0"/>
                    <a:pt x="40767" y="0"/>
                  </a:cubicBezTo>
                  <a:cubicBezTo>
                    <a:pt x="63282" y="0"/>
                    <a:pt x="81534" y="18252"/>
                    <a:pt x="81534" y="40767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ísḷíḓè"/>
            <p:cNvSpPr/>
            <p:nvPr/>
          </p:nvSpPr>
          <p:spPr>
            <a:xfrm>
              <a:off x="4483289" y="2097153"/>
              <a:ext cx="131986" cy="131988"/>
            </a:xfrm>
            <a:custGeom>
              <a:avLst/>
              <a:gdLst>
                <a:gd name="connsiteX0" fmla="*/ 81534 w 81533"/>
                <a:gd name="connsiteY0" fmla="*/ 40767 h 81534"/>
                <a:gd name="connsiteX1" fmla="*/ 40767 w 81533"/>
                <a:gd name="connsiteY1" fmla="*/ 81534 h 81534"/>
                <a:gd name="connsiteX2" fmla="*/ 0 w 81533"/>
                <a:gd name="connsiteY2" fmla="*/ 40767 h 81534"/>
                <a:gd name="connsiteX3" fmla="*/ 40767 w 81533"/>
                <a:gd name="connsiteY3" fmla="*/ 0 h 81534"/>
                <a:gd name="connsiteX4" fmla="*/ 81534 w 81533"/>
                <a:gd name="connsiteY4" fmla="*/ 40767 h 81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533" h="81534">
                  <a:moveTo>
                    <a:pt x="81534" y="40767"/>
                  </a:moveTo>
                  <a:cubicBezTo>
                    <a:pt x="81534" y="63282"/>
                    <a:pt x="63282" y="81534"/>
                    <a:pt x="40767" y="81534"/>
                  </a:cubicBezTo>
                  <a:cubicBezTo>
                    <a:pt x="18252" y="81534"/>
                    <a:pt x="0" y="63282"/>
                    <a:pt x="0" y="40767"/>
                  </a:cubicBezTo>
                  <a:cubicBezTo>
                    <a:pt x="0" y="18252"/>
                    <a:pt x="18252" y="0"/>
                    <a:pt x="40767" y="0"/>
                  </a:cubicBezTo>
                  <a:cubicBezTo>
                    <a:pt x="63282" y="0"/>
                    <a:pt x="81534" y="18252"/>
                    <a:pt x="81534" y="40767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40" name="文本框 39"/>
          <p:cNvSpPr txBox="1"/>
          <p:nvPr/>
        </p:nvSpPr>
        <p:spPr>
          <a:xfrm>
            <a:off x="6964158" y="2764535"/>
            <a:ext cx="3042542" cy="153972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zh-CN" altLang="en-US" b="1" dirty="0"/>
              <a:t>Oracle内置函数</a:t>
            </a:r>
            <a:endParaRPr lang="zh-CN" altLang="en-US" b="1" dirty="0"/>
          </a:p>
          <a:p>
            <a:pPr marL="742950" lvl="1" indent="-285750">
              <a:lnSpc>
                <a:spcPct val="130000"/>
              </a:lnSpc>
              <a:buFont typeface="Wingdings" panose="05000000000000000000" charset="0"/>
              <a:buChar char="n"/>
            </a:pPr>
            <a:r>
              <a:rPr lang="zh-CN" altLang="en-US" dirty="0"/>
              <a:t>日期时间相关函数</a:t>
            </a:r>
            <a:endParaRPr lang="zh-CN" altLang="en-US" dirty="0"/>
          </a:p>
          <a:p>
            <a:pPr marL="742950" lvl="1" indent="-285750">
              <a:lnSpc>
                <a:spcPct val="130000"/>
              </a:lnSpc>
              <a:buFont typeface="Wingdings" panose="05000000000000000000" charset="0"/>
              <a:buChar char="n"/>
            </a:pPr>
            <a:r>
              <a:rPr lang="zh-CN" altLang="en-US" dirty="0"/>
              <a:t>字符串函数</a:t>
            </a:r>
            <a:endParaRPr lang="zh-CN" altLang="en-US" dirty="0"/>
          </a:p>
          <a:p>
            <a:pPr marL="742950" lvl="1" indent="-285750">
              <a:lnSpc>
                <a:spcPct val="130000"/>
              </a:lnSpc>
              <a:buFont typeface="Wingdings" panose="05000000000000000000" charset="0"/>
              <a:buChar char="n"/>
            </a:pPr>
            <a:r>
              <a:rPr lang="zh-CN" altLang="en-US" dirty="0"/>
              <a:t>转换函数</a:t>
            </a:r>
            <a:endParaRPr lang="zh-CN" altLang="en-US" dirty="0"/>
          </a:p>
        </p:txBody>
      </p:sp>
    </p:spTree>
    <p:custDataLst>
      <p:tags r:id="rId1"/>
    </p:custData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本框 16"/>
          <p:cNvSpPr txBox="1"/>
          <p:nvPr/>
        </p:nvSpPr>
        <p:spPr>
          <a:xfrm>
            <a:off x="669923" y="915745"/>
            <a:ext cx="10850565" cy="628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3200" b="1" dirty="0">
                <a:latin typeface="+mj-lt"/>
                <a:ea typeface="+mj-ea"/>
              </a:rPr>
              <a:t>Oracle</a:t>
            </a:r>
            <a:r>
              <a:rPr lang="zh-CN" altLang="en-US" sz="3200" b="1" dirty="0">
                <a:latin typeface="+mj-lt"/>
                <a:ea typeface="+mj-ea"/>
              </a:rPr>
              <a:t>兼容</a:t>
            </a:r>
            <a:r>
              <a:rPr lang="en-US" altLang="zh-CN" sz="3200" b="1" dirty="0">
                <a:latin typeface="+mj-lt"/>
                <a:ea typeface="+mj-ea"/>
              </a:rPr>
              <a:t>-</a:t>
            </a:r>
            <a:r>
              <a:rPr lang="zh-CN" altLang="en-US" sz="3200" b="1" dirty="0">
                <a:latin typeface="+mj-lt"/>
                <a:ea typeface="+mj-ea"/>
              </a:rPr>
              <a:t>语法转换</a:t>
            </a:r>
            <a:endParaRPr lang="zh-CN" altLang="en-US" sz="3200" b="1" dirty="0">
              <a:latin typeface="+mj-lt"/>
              <a:ea typeface="+mj-ea"/>
            </a:endParaRPr>
          </a:p>
        </p:txBody>
      </p:sp>
      <p:grpSp>
        <p:nvGrpSpPr>
          <p:cNvPr id="214" name="组合 213"/>
          <p:cNvGrpSpPr/>
          <p:nvPr/>
        </p:nvGrpSpPr>
        <p:grpSpPr>
          <a:xfrm>
            <a:off x="801424" y="1859279"/>
            <a:ext cx="4176976" cy="2744963"/>
            <a:chOff x="791264" y="1849119"/>
            <a:chExt cx="4176976" cy="2744963"/>
          </a:xfrm>
        </p:grpSpPr>
        <p:grpSp>
          <p:nvGrpSpPr>
            <p:cNvPr id="178" name="组合 177"/>
            <p:cNvGrpSpPr/>
            <p:nvPr/>
          </p:nvGrpSpPr>
          <p:grpSpPr>
            <a:xfrm>
              <a:off x="791264" y="1849119"/>
              <a:ext cx="4176976" cy="2744963"/>
              <a:chOff x="3560917" y="1970405"/>
              <a:chExt cx="5057467" cy="3323591"/>
            </a:xfrm>
          </p:grpSpPr>
          <p:sp>
            <p:nvSpPr>
              <p:cNvPr id="179" name="îṡlíḋe"/>
              <p:cNvSpPr/>
              <p:nvPr/>
            </p:nvSpPr>
            <p:spPr>
              <a:xfrm>
                <a:off x="3572019" y="2167927"/>
                <a:ext cx="5039579" cy="3126069"/>
              </a:xfrm>
              <a:custGeom>
                <a:avLst/>
                <a:gdLst>
                  <a:gd name="connsiteX0" fmla="*/ 2946464 w 3113150"/>
                  <a:gd name="connsiteY0" fmla="*/ 1931099 h 1931098"/>
                  <a:gd name="connsiteX1" fmla="*/ 166688 w 3113150"/>
                  <a:gd name="connsiteY1" fmla="*/ 1931099 h 1931098"/>
                  <a:gd name="connsiteX2" fmla="*/ 0 w 3113150"/>
                  <a:gd name="connsiteY2" fmla="*/ 1764411 h 1931098"/>
                  <a:gd name="connsiteX3" fmla="*/ 0 w 3113150"/>
                  <a:gd name="connsiteY3" fmla="*/ 124587 h 1931098"/>
                  <a:gd name="connsiteX4" fmla="*/ 124682 w 3113150"/>
                  <a:gd name="connsiteY4" fmla="*/ 0 h 1931098"/>
                  <a:gd name="connsiteX5" fmla="*/ 2986469 w 3113150"/>
                  <a:gd name="connsiteY5" fmla="*/ 0 h 1931098"/>
                  <a:gd name="connsiteX6" fmla="*/ 3113151 w 3113150"/>
                  <a:gd name="connsiteY6" fmla="*/ 126587 h 1931098"/>
                  <a:gd name="connsiteX7" fmla="*/ 3113151 w 3113150"/>
                  <a:gd name="connsiteY7" fmla="*/ 1764887 h 1931098"/>
                  <a:gd name="connsiteX8" fmla="*/ 2946464 w 3113150"/>
                  <a:gd name="connsiteY8" fmla="*/ 1931099 h 1931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13150" h="1931098">
                    <a:moveTo>
                      <a:pt x="2946464" y="1931099"/>
                    </a:moveTo>
                    <a:lnTo>
                      <a:pt x="166688" y="1931099"/>
                    </a:lnTo>
                    <a:cubicBezTo>
                      <a:pt x="74676" y="1930994"/>
                      <a:pt x="105" y="1856423"/>
                      <a:pt x="0" y="1764411"/>
                    </a:cubicBezTo>
                    <a:lnTo>
                      <a:pt x="0" y="124587"/>
                    </a:lnTo>
                    <a:cubicBezTo>
                      <a:pt x="105" y="55786"/>
                      <a:pt x="55883" y="52"/>
                      <a:pt x="124682" y="0"/>
                    </a:cubicBezTo>
                    <a:lnTo>
                      <a:pt x="2986469" y="0"/>
                    </a:lnTo>
                    <a:cubicBezTo>
                      <a:pt x="3056392" y="0"/>
                      <a:pt x="3113103" y="56659"/>
                      <a:pt x="3113151" y="126587"/>
                    </a:cubicBezTo>
                    <a:lnTo>
                      <a:pt x="3113151" y="1764887"/>
                    </a:lnTo>
                    <a:cubicBezTo>
                      <a:pt x="3112780" y="1856718"/>
                      <a:pt x="3038294" y="1930994"/>
                      <a:pt x="2946464" y="1931099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0" name="îšļíḓè"/>
              <p:cNvSpPr/>
              <p:nvPr/>
            </p:nvSpPr>
            <p:spPr>
              <a:xfrm>
                <a:off x="3572019" y="2167927"/>
                <a:ext cx="5039579" cy="3126069"/>
              </a:xfrm>
              <a:custGeom>
                <a:avLst/>
                <a:gdLst>
                  <a:gd name="connsiteX0" fmla="*/ 2946464 w 3113150"/>
                  <a:gd name="connsiteY0" fmla="*/ 1931099 h 1931098"/>
                  <a:gd name="connsiteX1" fmla="*/ 166688 w 3113150"/>
                  <a:gd name="connsiteY1" fmla="*/ 1931099 h 1931098"/>
                  <a:gd name="connsiteX2" fmla="*/ 0 w 3113150"/>
                  <a:gd name="connsiteY2" fmla="*/ 1764411 h 1931098"/>
                  <a:gd name="connsiteX3" fmla="*/ 0 w 3113150"/>
                  <a:gd name="connsiteY3" fmla="*/ 124587 h 1931098"/>
                  <a:gd name="connsiteX4" fmla="*/ 124682 w 3113150"/>
                  <a:gd name="connsiteY4" fmla="*/ 0 h 1931098"/>
                  <a:gd name="connsiteX5" fmla="*/ 2986469 w 3113150"/>
                  <a:gd name="connsiteY5" fmla="*/ 0 h 1931098"/>
                  <a:gd name="connsiteX6" fmla="*/ 3113151 w 3113150"/>
                  <a:gd name="connsiteY6" fmla="*/ 126587 h 1931098"/>
                  <a:gd name="connsiteX7" fmla="*/ 3113151 w 3113150"/>
                  <a:gd name="connsiteY7" fmla="*/ 1764887 h 1931098"/>
                  <a:gd name="connsiteX8" fmla="*/ 2946464 w 3113150"/>
                  <a:gd name="connsiteY8" fmla="*/ 1931099 h 1931098"/>
                  <a:gd name="connsiteX9" fmla="*/ 124682 w 3113150"/>
                  <a:gd name="connsiteY9" fmla="*/ 19050 h 1931098"/>
                  <a:gd name="connsiteX10" fmla="*/ 19050 w 3113150"/>
                  <a:gd name="connsiteY10" fmla="*/ 124587 h 1931098"/>
                  <a:gd name="connsiteX11" fmla="*/ 19050 w 3113150"/>
                  <a:gd name="connsiteY11" fmla="*/ 1764411 h 1931098"/>
                  <a:gd name="connsiteX12" fmla="*/ 166688 w 3113150"/>
                  <a:gd name="connsiteY12" fmla="*/ 1912049 h 1931098"/>
                  <a:gd name="connsiteX13" fmla="*/ 2946464 w 3113150"/>
                  <a:gd name="connsiteY13" fmla="*/ 1912049 h 1931098"/>
                  <a:gd name="connsiteX14" fmla="*/ 3094101 w 3113150"/>
                  <a:gd name="connsiteY14" fmla="*/ 1764411 h 1931098"/>
                  <a:gd name="connsiteX15" fmla="*/ 3094101 w 3113150"/>
                  <a:gd name="connsiteY15" fmla="*/ 126587 h 1931098"/>
                  <a:gd name="connsiteX16" fmla="*/ 2986469 w 3113150"/>
                  <a:gd name="connsiteY16" fmla="*/ 19050 h 1931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113150" h="1931098">
                    <a:moveTo>
                      <a:pt x="2946464" y="1931099"/>
                    </a:moveTo>
                    <a:lnTo>
                      <a:pt x="166688" y="1931099"/>
                    </a:lnTo>
                    <a:cubicBezTo>
                      <a:pt x="74676" y="1930994"/>
                      <a:pt x="105" y="1856423"/>
                      <a:pt x="0" y="1764411"/>
                    </a:cubicBezTo>
                    <a:lnTo>
                      <a:pt x="0" y="124587"/>
                    </a:lnTo>
                    <a:cubicBezTo>
                      <a:pt x="105" y="55786"/>
                      <a:pt x="55883" y="52"/>
                      <a:pt x="124682" y="0"/>
                    </a:cubicBezTo>
                    <a:lnTo>
                      <a:pt x="2986469" y="0"/>
                    </a:lnTo>
                    <a:cubicBezTo>
                      <a:pt x="3056392" y="0"/>
                      <a:pt x="3113103" y="56659"/>
                      <a:pt x="3113151" y="126587"/>
                    </a:cubicBezTo>
                    <a:lnTo>
                      <a:pt x="3113151" y="1764887"/>
                    </a:lnTo>
                    <a:cubicBezTo>
                      <a:pt x="3112780" y="1856718"/>
                      <a:pt x="3038294" y="1930994"/>
                      <a:pt x="2946464" y="1931099"/>
                    </a:cubicBezTo>
                    <a:close/>
                    <a:moveTo>
                      <a:pt x="124682" y="19050"/>
                    </a:moveTo>
                    <a:cubicBezTo>
                      <a:pt x="66380" y="19050"/>
                      <a:pt x="19107" y="66285"/>
                      <a:pt x="19050" y="124587"/>
                    </a:cubicBezTo>
                    <a:lnTo>
                      <a:pt x="19050" y="1764411"/>
                    </a:lnTo>
                    <a:cubicBezTo>
                      <a:pt x="19212" y="1845888"/>
                      <a:pt x="85211" y="1911887"/>
                      <a:pt x="166688" y="1912049"/>
                    </a:cubicBezTo>
                    <a:lnTo>
                      <a:pt x="2946464" y="1912049"/>
                    </a:lnTo>
                    <a:cubicBezTo>
                      <a:pt x="3027960" y="1911944"/>
                      <a:pt x="3093996" y="1845907"/>
                      <a:pt x="3094101" y="1764411"/>
                    </a:cubicBezTo>
                    <a:lnTo>
                      <a:pt x="3094101" y="126587"/>
                    </a:lnTo>
                    <a:cubicBezTo>
                      <a:pt x="3093996" y="67203"/>
                      <a:pt x="3045857" y="19102"/>
                      <a:pt x="2986469" y="19050"/>
                    </a:cubicBezTo>
                    <a:close/>
                  </a:path>
                </a:pathLst>
              </a:custGeom>
              <a:solidFill>
                <a:srgbClr val="3F3D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1" name="îslíḋè"/>
              <p:cNvSpPr/>
              <p:nvPr/>
            </p:nvSpPr>
            <p:spPr>
              <a:xfrm>
                <a:off x="3841852" y="2594881"/>
                <a:ext cx="4499910" cy="2429279"/>
              </a:xfrm>
              <a:custGeom>
                <a:avLst/>
                <a:gdLst>
                  <a:gd name="connsiteX0" fmla="*/ 152400 w 2779775"/>
                  <a:gd name="connsiteY0" fmla="*/ 1500664 h 1500663"/>
                  <a:gd name="connsiteX1" fmla="*/ 2627376 w 2779775"/>
                  <a:gd name="connsiteY1" fmla="*/ 1500664 h 1500663"/>
                  <a:gd name="connsiteX2" fmla="*/ 2779776 w 2779775"/>
                  <a:gd name="connsiteY2" fmla="*/ 1348264 h 1500663"/>
                  <a:gd name="connsiteX3" fmla="*/ 2779776 w 2779775"/>
                  <a:gd name="connsiteY3" fmla="*/ 152400 h 1500663"/>
                  <a:gd name="connsiteX4" fmla="*/ 2627376 w 2779775"/>
                  <a:gd name="connsiteY4" fmla="*/ 0 h 1500663"/>
                  <a:gd name="connsiteX5" fmla="*/ 152400 w 2779775"/>
                  <a:gd name="connsiteY5" fmla="*/ 0 h 1500663"/>
                  <a:gd name="connsiteX6" fmla="*/ 0 w 2779775"/>
                  <a:gd name="connsiteY6" fmla="*/ 152400 h 1500663"/>
                  <a:gd name="connsiteX7" fmla="*/ 0 w 2779775"/>
                  <a:gd name="connsiteY7" fmla="*/ 1348264 h 1500663"/>
                  <a:gd name="connsiteX8" fmla="*/ 152400 w 2779775"/>
                  <a:gd name="connsiteY8" fmla="*/ 1500664 h 1500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79775" h="1500663">
                    <a:moveTo>
                      <a:pt x="152400" y="1500664"/>
                    </a:moveTo>
                    <a:lnTo>
                      <a:pt x="2627376" y="1500664"/>
                    </a:lnTo>
                    <a:cubicBezTo>
                      <a:pt x="2711548" y="1500664"/>
                      <a:pt x="2779776" y="1432436"/>
                      <a:pt x="2779776" y="1348264"/>
                    </a:cubicBezTo>
                    <a:lnTo>
                      <a:pt x="2779776" y="152400"/>
                    </a:lnTo>
                    <a:cubicBezTo>
                      <a:pt x="2779776" y="68231"/>
                      <a:pt x="2711548" y="0"/>
                      <a:pt x="2627376" y="0"/>
                    </a:cubicBezTo>
                    <a:lnTo>
                      <a:pt x="152400" y="0"/>
                    </a:lnTo>
                    <a:cubicBezTo>
                      <a:pt x="68228" y="0"/>
                      <a:pt x="0" y="68231"/>
                      <a:pt x="0" y="152400"/>
                    </a:cubicBezTo>
                    <a:lnTo>
                      <a:pt x="0" y="1348264"/>
                    </a:lnTo>
                    <a:cubicBezTo>
                      <a:pt x="0" y="1432436"/>
                      <a:pt x="68228" y="1500664"/>
                      <a:pt x="152400" y="1500664"/>
                    </a:cubicBezTo>
                    <a:close/>
                  </a:path>
                </a:pathLst>
              </a:custGeom>
              <a:solidFill>
                <a:srgbClr val="F2F2F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2" name="ís1iḓé"/>
              <p:cNvSpPr/>
              <p:nvPr/>
            </p:nvSpPr>
            <p:spPr>
              <a:xfrm>
                <a:off x="3560917" y="1970405"/>
                <a:ext cx="5057467" cy="385479"/>
              </a:xfrm>
              <a:custGeom>
                <a:avLst/>
                <a:gdLst>
                  <a:gd name="connsiteX0" fmla="*/ 3124200 w 3124200"/>
                  <a:gd name="connsiteY0" fmla="*/ 238127 h 238126"/>
                  <a:gd name="connsiteX1" fmla="*/ 0 w 3124200"/>
                  <a:gd name="connsiteY1" fmla="*/ 238127 h 238126"/>
                  <a:gd name="connsiteX2" fmla="*/ 0 w 3124200"/>
                  <a:gd name="connsiteY2" fmla="*/ 158117 h 238126"/>
                  <a:gd name="connsiteX3" fmla="*/ 159258 w 3124200"/>
                  <a:gd name="connsiteY3" fmla="*/ 1 h 238126"/>
                  <a:gd name="connsiteX4" fmla="*/ 159448 w 3124200"/>
                  <a:gd name="connsiteY4" fmla="*/ 2 h 238126"/>
                  <a:gd name="connsiteX5" fmla="*/ 2964752 w 3124200"/>
                  <a:gd name="connsiteY5" fmla="*/ 2 h 238126"/>
                  <a:gd name="connsiteX6" fmla="*/ 3124200 w 3124200"/>
                  <a:gd name="connsiteY6" fmla="*/ 157641 h 238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24200" h="238126">
                    <a:moveTo>
                      <a:pt x="3124200" y="238127"/>
                    </a:moveTo>
                    <a:lnTo>
                      <a:pt x="0" y="238127"/>
                    </a:lnTo>
                    <a:lnTo>
                      <a:pt x="0" y="158117"/>
                    </a:lnTo>
                    <a:cubicBezTo>
                      <a:pt x="314" y="70477"/>
                      <a:pt x="71619" y="-314"/>
                      <a:pt x="159258" y="1"/>
                    </a:cubicBezTo>
                    <a:cubicBezTo>
                      <a:pt x="159315" y="1"/>
                      <a:pt x="159382" y="2"/>
                      <a:pt x="159448" y="2"/>
                    </a:cubicBezTo>
                    <a:lnTo>
                      <a:pt x="2964752" y="2"/>
                    </a:lnTo>
                    <a:cubicBezTo>
                      <a:pt x="3052277" y="-420"/>
                      <a:pt x="3123619" y="70112"/>
                      <a:pt x="3124200" y="157641"/>
                    </a:cubicBezTo>
                    <a:close/>
                  </a:path>
                </a:pathLst>
              </a:custGeom>
              <a:solidFill>
                <a:srgbClr val="848EE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3" name="îṥḷiďê"/>
              <p:cNvSpPr/>
              <p:nvPr/>
            </p:nvSpPr>
            <p:spPr>
              <a:xfrm>
                <a:off x="3982013" y="2097153"/>
                <a:ext cx="131986" cy="131988"/>
              </a:xfrm>
              <a:custGeom>
                <a:avLst/>
                <a:gdLst>
                  <a:gd name="connsiteX0" fmla="*/ 81534 w 81533"/>
                  <a:gd name="connsiteY0" fmla="*/ 40767 h 81534"/>
                  <a:gd name="connsiteX1" fmla="*/ 40767 w 81533"/>
                  <a:gd name="connsiteY1" fmla="*/ 81534 h 81534"/>
                  <a:gd name="connsiteX2" fmla="*/ 0 w 81533"/>
                  <a:gd name="connsiteY2" fmla="*/ 40767 h 81534"/>
                  <a:gd name="connsiteX3" fmla="*/ 40767 w 81533"/>
                  <a:gd name="connsiteY3" fmla="*/ 0 h 81534"/>
                  <a:gd name="connsiteX4" fmla="*/ 81534 w 81533"/>
                  <a:gd name="connsiteY4" fmla="*/ 40767 h 81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1533" h="81534">
                    <a:moveTo>
                      <a:pt x="81534" y="40767"/>
                    </a:moveTo>
                    <a:cubicBezTo>
                      <a:pt x="81534" y="63282"/>
                      <a:pt x="63282" y="81534"/>
                      <a:pt x="40767" y="81534"/>
                    </a:cubicBezTo>
                    <a:cubicBezTo>
                      <a:pt x="18252" y="81534"/>
                      <a:pt x="0" y="63282"/>
                      <a:pt x="0" y="40767"/>
                    </a:cubicBezTo>
                    <a:cubicBezTo>
                      <a:pt x="0" y="18252"/>
                      <a:pt x="18252" y="0"/>
                      <a:pt x="40767" y="0"/>
                    </a:cubicBezTo>
                    <a:cubicBezTo>
                      <a:pt x="63282" y="0"/>
                      <a:pt x="81534" y="18252"/>
                      <a:pt x="81534" y="40767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4" name="îṣlíḍê"/>
              <p:cNvSpPr/>
              <p:nvPr/>
            </p:nvSpPr>
            <p:spPr>
              <a:xfrm>
                <a:off x="4232727" y="2097153"/>
                <a:ext cx="131986" cy="131988"/>
              </a:xfrm>
              <a:custGeom>
                <a:avLst/>
                <a:gdLst>
                  <a:gd name="connsiteX0" fmla="*/ 81534 w 81533"/>
                  <a:gd name="connsiteY0" fmla="*/ 40767 h 81534"/>
                  <a:gd name="connsiteX1" fmla="*/ 40767 w 81533"/>
                  <a:gd name="connsiteY1" fmla="*/ 81534 h 81534"/>
                  <a:gd name="connsiteX2" fmla="*/ 0 w 81533"/>
                  <a:gd name="connsiteY2" fmla="*/ 40767 h 81534"/>
                  <a:gd name="connsiteX3" fmla="*/ 40767 w 81533"/>
                  <a:gd name="connsiteY3" fmla="*/ 0 h 81534"/>
                  <a:gd name="connsiteX4" fmla="*/ 81534 w 81533"/>
                  <a:gd name="connsiteY4" fmla="*/ 40767 h 81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1533" h="81534">
                    <a:moveTo>
                      <a:pt x="81534" y="40767"/>
                    </a:moveTo>
                    <a:cubicBezTo>
                      <a:pt x="81534" y="63282"/>
                      <a:pt x="63282" y="81534"/>
                      <a:pt x="40767" y="81534"/>
                    </a:cubicBezTo>
                    <a:cubicBezTo>
                      <a:pt x="18252" y="81534"/>
                      <a:pt x="0" y="63282"/>
                      <a:pt x="0" y="40767"/>
                    </a:cubicBezTo>
                    <a:cubicBezTo>
                      <a:pt x="0" y="18252"/>
                      <a:pt x="18252" y="0"/>
                      <a:pt x="40767" y="0"/>
                    </a:cubicBezTo>
                    <a:cubicBezTo>
                      <a:pt x="63282" y="0"/>
                      <a:pt x="81534" y="18252"/>
                      <a:pt x="81534" y="40767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5" name="ísḷíḓè"/>
              <p:cNvSpPr/>
              <p:nvPr/>
            </p:nvSpPr>
            <p:spPr>
              <a:xfrm>
                <a:off x="4483289" y="2097153"/>
                <a:ext cx="131986" cy="131988"/>
              </a:xfrm>
              <a:custGeom>
                <a:avLst/>
                <a:gdLst>
                  <a:gd name="connsiteX0" fmla="*/ 81534 w 81533"/>
                  <a:gd name="connsiteY0" fmla="*/ 40767 h 81534"/>
                  <a:gd name="connsiteX1" fmla="*/ 40767 w 81533"/>
                  <a:gd name="connsiteY1" fmla="*/ 81534 h 81534"/>
                  <a:gd name="connsiteX2" fmla="*/ 0 w 81533"/>
                  <a:gd name="connsiteY2" fmla="*/ 40767 h 81534"/>
                  <a:gd name="connsiteX3" fmla="*/ 40767 w 81533"/>
                  <a:gd name="connsiteY3" fmla="*/ 0 h 81534"/>
                  <a:gd name="connsiteX4" fmla="*/ 81534 w 81533"/>
                  <a:gd name="connsiteY4" fmla="*/ 40767 h 81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1533" h="81534">
                    <a:moveTo>
                      <a:pt x="81534" y="40767"/>
                    </a:moveTo>
                    <a:cubicBezTo>
                      <a:pt x="81534" y="63282"/>
                      <a:pt x="63282" y="81534"/>
                      <a:pt x="40767" y="81534"/>
                    </a:cubicBezTo>
                    <a:cubicBezTo>
                      <a:pt x="18252" y="81534"/>
                      <a:pt x="0" y="63282"/>
                      <a:pt x="0" y="40767"/>
                    </a:cubicBezTo>
                    <a:cubicBezTo>
                      <a:pt x="0" y="18252"/>
                      <a:pt x="18252" y="0"/>
                      <a:pt x="40767" y="0"/>
                    </a:cubicBezTo>
                    <a:cubicBezTo>
                      <a:pt x="63282" y="0"/>
                      <a:pt x="81534" y="18252"/>
                      <a:pt x="81534" y="40767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4" name="文本框 3"/>
            <p:cNvSpPr txBox="1"/>
            <p:nvPr/>
          </p:nvSpPr>
          <p:spPr>
            <a:xfrm>
              <a:off x="816755" y="2524906"/>
              <a:ext cx="3663805" cy="1754326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742950" lvl="1" indent="-2857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zh-CN" altLang="en-US" b="1" dirty="0"/>
                <a:t>与Oracle兼容的SQL修改</a:t>
              </a:r>
              <a:endParaRPr lang="zh-CN" altLang="en-US" b="1" dirty="0"/>
            </a:p>
            <a:p>
              <a:pPr marL="1200150" lvl="2" indent="-285750">
                <a:lnSpc>
                  <a:spcPct val="120000"/>
                </a:lnSpc>
                <a:buFont typeface="Wingdings" panose="05000000000000000000" charset="0"/>
                <a:buChar char="n"/>
              </a:pPr>
              <a:r>
                <a:rPr lang="zh-CN" altLang="en-US" dirty="0"/>
                <a:t>ALTER Table</a:t>
              </a:r>
              <a:endParaRPr lang="zh-CN" altLang="en-US" dirty="0"/>
            </a:p>
            <a:p>
              <a:pPr marL="1200150" lvl="2" indent="-285750">
                <a:lnSpc>
                  <a:spcPct val="120000"/>
                </a:lnSpc>
                <a:buFont typeface="Wingdings" panose="05000000000000000000" charset="0"/>
                <a:buChar char="n"/>
              </a:pPr>
              <a:r>
                <a:rPr lang="zh-CN" altLang="en-US" dirty="0"/>
                <a:t>DELETE Table</a:t>
              </a:r>
              <a:endParaRPr lang="zh-CN" altLang="en-US" dirty="0"/>
            </a:p>
            <a:p>
              <a:pPr marL="1200150" lvl="2" indent="-285750">
                <a:lnSpc>
                  <a:spcPct val="120000"/>
                </a:lnSpc>
                <a:buFont typeface="Wingdings" panose="05000000000000000000" charset="0"/>
                <a:buChar char="n"/>
              </a:pPr>
              <a:r>
                <a:rPr lang="zh-CN" altLang="en-US" dirty="0"/>
                <a:t>UPDATE Table</a:t>
              </a:r>
              <a:endParaRPr lang="zh-CN" altLang="en-US" dirty="0"/>
            </a:p>
            <a:p>
              <a:pPr marL="1200150" lvl="2" indent="-285750">
                <a:lnSpc>
                  <a:spcPct val="120000"/>
                </a:lnSpc>
                <a:buFont typeface="Wingdings" panose="05000000000000000000" charset="0"/>
                <a:buChar char="n"/>
              </a:pPr>
              <a:r>
                <a:rPr lang="zh-CN" altLang="en-US" dirty="0"/>
                <a:t>Group By</a:t>
              </a:r>
              <a:endParaRPr lang="en-US" altLang="zh-CN" dirty="0"/>
            </a:p>
          </p:txBody>
        </p:sp>
      </p:grpSp>
      <p:grpSp>
        <p:nvGrpSpPr>
          <p:cNvPr id="212" name="组合 211"/>
          <p:cNvGrpSpPr/>
          <p:nvPr/>
        </p:nvGrpSpPr>
        <p:grpSpPr>
          <a:xfrm>
            <a:off x="4733344" y="2540000"/>
            <a:ext cx="3432197" cy="2255520"/>
            <a:chOff x="4773984" y="2265680"/>
            <a:chExt cx="3432197" cy="2255520"/>
          </a:xfrm>
        </p:grpSpPr>
        <p:grpSp>
          <p:nvGrpSpPr>
            <p:cNvPr id="189" name="组合 188"/>
            <p:cNvGrpSpPr/>
            <p:nvPr/>
          </p:nvGrpSpPr>
          <p:grpSpPr>
            <a:xfrm>
              <a:off x="4773984" y="2265680"/>
              <a:ext cx="3432197" cy="2255520"/>
              <a:chOff x="3560917" y="1970405"/>
              <a:chExt cx="5057467" cy="3323591"/>
            </a:xfrm>
          </p:grpSpPr>
          <p:sp>
            <p:nvSpPr>
              <p:cNvPr id="190" name="îṡlíḋe"/>
              <p:cNvSpPr/>
              <p:nvPr/>
            </p:nvSpPr>
            <p:spPr>
              <a:xfrm>
                <a:off x="3572019" y="2167927"/>
                <a:ext cx="5039579" cy="3126069"/>
              </a:xfrm>
              <a:custGeom>
                <a:avLst/>
                <a:gdLst>
                  <a:gd name="connsiteX0" fmla="*/ 2946464 w 3113150"/>
                  <a:gd name="connsiteY0" fmla="*/ 1931099 h 1931098"/>
                  <a:gd name="connsiteX1" fmla="*/ 166688 w 3113150"/>
                  <a:gd name="connsiteY1" fmla="*/ 1931099 h 1931098"/>
                  <a:gd name="connsiteX2" fmla="*/ 0 w 3113150"/>
                  <a:gd name="connsiteY2" fmla="*/ 1764411 h 1931098"/>
                  <a:gd name="connsiteX3" fmla="*/ 0 w 3113150"/>
                  <a:gd name="connsiteY3" fmla="*/ 124587 h 1931098"/>
                  <a:gd name="connsiteX4" fmla="*/ 124682 w 3113150"/>
                  <a:gd name="connsiteY4" fmla="*/ 0 h 1931098"/>
                  <a:gd name="connsiteX5" fmla="*/ 2986469 w 3113150"/>
                  <a:gd name="connsiteY5" fmla="*/ 0 h 1931098"/>
                  <a:gd name="connsiteX6" fmla="*/ 3113151 w 3113150"/>
                  <a:gd name="connsiteY6" fmla="*/ 126587 h 1931098"/>
                  <a:gd name="connsiteX7" fmla="*/ 3113151 w 3113150"/>
                  <a:gd name="connsiteY7" fmla="*/ 1764887 h 1931098"/>
                  <a:gd name="connsiteX8" fmla="*/ 2946464 w 3113150"/>
                  <a:gd name="connsiteY8" fmla="*/ 1931099 h 1931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13150" h="1931098">
                    <a:moveTo>
                      <a:pt x="2946464" y="1931099"/>
                    </a:moveTo>
                    <a:lnTo>
                      <a:pt x="166688" y="1931099"/>
                    </a:lnTo>
                    <a:cubicBezTo>
                      <a:pt x="74676" y="1930994"/>
                      <a:pt x="105" y="1856423"/>
                      <a:pt x="0" y="1764411"/>
                    </a:cubicBezTo>
                    <a:lnTo>
                      <a:pt x="0" y="124587"/>
                    </a:lnTo>
                    <a:cubicBezTo>
                      <a:pt x="105" y="55786"/>
                      <a:pt x="55883" y="52"/>
                      <a:pt x="124682" y="0"/>
                    </a:cubicBezTo>
                    <a:lnTo>
                      <a:pt x="2986469" y="0"/>
                    </a:lnTo>
                    <a:cubicBezTo>
                      <a:pt x="3056392" y="0"/>
                      <a:pt x="3113103" y="56659"/>
                      <a:pt x="3113151" y="126587"/>
                    </a:cubicBezTo>
                    <a:lnTo>
                      <a:pt x="3113151" y="1764887"/>
                    </a:lnTo>
                    <a:cubicBezTo>
                      <a:pt x="3112780" y="1856718"/>
                      <a:pt x="3038294" y="1930994"/>
                      <a:pt x="2946464" y="1931099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1" name="îšļíḓè"/>
              <p:cNvSpPr/>
              <p:nvPr/>
            </p:nvSpPr>
            <p:spPr>
              <a:xfrm>
                <a:off x="3572019" y="2167927"/>
                <a:ext cx="5039579" cy="3126069"/>
              </a:xfrm>
              <a:custGeom>
                <a:avLst/>
                <a:gdLst>
                  <a:gd name="connsiteX0" fmla="*/ 2946464 w 3113150"/>
                  <a:gd name="connsiteY0" fmla="*/ 1931099 h 1931098"/>
                  <a:gd name="connsiteX1" fmla="*/ 166688 w 3113150"/>
                  <a:gd name="connsiteY1" fmla="*/ 1931099 h 1931098"/>
                  <a:gd name="connsiteX2" fmla="*/ 0 w 3113150"/>
                  <a:gd name="connsiteY2" fmla="*/ 1764411 h 1931098"/>
                  <a:gd name="connsiteX3" fmla="*/ 0 w 3113150"/>
                  <a:gd name="connsiteY3" fmla="*/ 124587 h 1931098"/>
                  <a:gd name="connsiteX4" fmla="*/ 124682 w 3113150"/>
                  <a:gd name="connsiteY4" fmla="*/ 0 h 1931098"/>
                  <a:gd name="connsiteX5" fmla="*/ 2986469 w 3113150"/>
                  <a:gd name="connsiteY5" fmla="*/ 0 h 1931098"/>
                  <a:gd name="connsiteX6" fmla="*/ 3113151 w 3113150"/>
                  <a:gd name="connsiteY6" fmla="*/ 126587 h 1931098"/>
                  <a:gd name="connsiteX7" fmla="*/ 3113151 w 3113150"/>
                  <a:gd name="connsiteY7" fmla="*/ 1764887 h 1931098"/>
                  <a:gd name="connsiteX8" fmla="*/ 2946464 w 3113150"/>
                  <a:gd name="connsiteY8" fmla="*/ 1931099 h 1931098"/>
                  <a:gd name="connsiteX9" fmla="*/ 124682 w 3113150"/>
                  <a:gd name="connsiteY9" fmla="*/ 19050 h 1931098"/>
                  <a:gd name="connsiteX10" fmla="*/ 19050 w 3113150"/>
                  <a:gd name="connsiteY10" fmla="*/ 124587 h 1931098"/>
                  <a:gd name="connsiteX11" fmla="*/ 19050 w 3113150"/>
                  <a:gd name="connsiteY11" fmla="*/ 1764411 h 1931098"/>
                  <a:gd name="connsiteX12" fmla="*/ 166688 w 3113150"/>
                  <a:gd name="connsiteY12" fmla="*/ 1912049 h 1931098"/>
                  <a:gd name="connsiteX13" fmla="*/ 2946464 w 3113150"/>
                  <a:gd name="connsiteY13" fmla="*/ 1912049 h 1931098"/>
                  <a:gd name="connsiteX14" fmla="*/ 3094101 w 3113150"/>
                  <a:gd name="connsiteY14" fmla="*/ 1764411 h 1931098"/>
                  <a:gd name="connsiteX15" fmla="*/ 3094101 w 3113150"/>
                  <a:gd name="connsiteY15" fmla="*/ 126587 h 1931098"/>
                  <a:gd name="connsiteX16" fmla="*/ 2986469 w 3113150"/>
                  <a:gd name="connsiteY16" fmla="*/ 19050 h 1931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113150" h="1931098">
                    <a:moveTo>
                      <a:pt x="2946464" y="1931099"/>
                    </a:moveTo>
                    <a:lnTo>
                      <a:pt x="166688" y="1931099"/>
                    </a:lnTo>
                    <a:cubicBezTo>
                      <a:pt x="74676" y="1930994"/>
                      <a:pt x="105" y="1856423"/>
                      <a:pt x="0" y="1764411"/>
                    </a:cubicBezTo>
                    <a:lnTo>
                      <a:pt x="0" y="124587"/>
                    </a:lnTo>
                    <a:cubicBezTo>
                      <a:pt x="105" y="55786"/>
                      <a:pt x="55883" y="52"/>
                      <a:pt x="124682" y="0"/>
                    </a:cubicBezTo>
                    <a:lnTo>
                      <a:pt x="2986469" y="0"/>
                    </a:lnTo>
                    <a:cubicBezTo>
                      <a:pt x="3056392" y="0"/>
                      <a:pt x="3113103" y="56659"/>
                      <a:pt x="3113151" y="126587"/>
                    </a:cubicBezTo>
                    <a:lnTo>
                      <a:pt x="3113151" y="1764887"/>
                    </a:lnTo>
                    <a:cubicBezTo>
                      <a:pt x="3112780" y="1856718"/>
                      <a:pt x="3038294" y="1930994"/>
                      <a:pt x="2946464" y="1931099"/>
                    </a:cubicBezTo>
                    <a:close/>
                    <a:moveTo>
                      <a:pt x="124682" y="19050"/>
                    </a:moveTo>
                    <a:cubicBezTo>
                      <a:pt x="66380" y="19050"/>
                      <a:pt x="19107" y="66285"/>
                      <a:pt x="19050" y="124587"/>
                    </a:cubicBezTo>
                    <a:lnTo>
                      <a:pt x="19050" y="1764411"/>
                    </a:lnTo>
                    <a:cubicBezTo>
                      <a:pt x="19212" y="1845888"/>
                      <a:pt x="85211" y="1911887"/>
                      <a:pt x="166688" y="1912049"/>
                    </a:cubicBezTo>
                    <a:lnTo>
                      <a:pt x="2946464" y="1912049"/>
                    </a:lnTo>
                    <a:cubicBezTo>
                      <a:pt x="3027960" y="1911944"/>
                      <a:pt x="3093996" y="1845907"/>
                      <a:pt x="3094101" y="1764411"/>
                    </a:cubicBezTo>
                    <a:lnTo>
                      <a:pt x="3094101" y="126587"/>
                    </a:lnTo>
                    <a:cubicBezTo>
                      <a:pt x="3093996" y="67203"/>
                      <a:pt x="3045857" y="19102"/>
                      <a:pt x="2986469" y="19050"/>
                    </a:cubicBezTo>
                    <a:close/>
                  </a:path>
                </a:pathLst>
              </a:custGeom>
              <a:solidFill>
                <a:srgbClr val="3F3D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2" name="îslíḋè"/>
              <p:cNvSpPr/>
              <p:nvPr/>
            </p:nvSpPr>
            <p:spPr>
              <a:xfrm>
                <a:off x="3841852" y="2594881"/>
                <a:ext cx="4499910" cy="2429279"/>
              </a:xfrm>
              <a:custGeom>
                <a:avLst/>
                <a:gdLst>
                  <a:gd name="connsiteX0" fmla="*/ 152400 w 2779775"/>
                  <a:gd name="connsiteY0" fmla="*/ 1500664 h 1500663"/>
                  <a:gd name="connsiteX1" fmla="*/ 2627376 w 2779775"/>
                  <a:gd name="connsiteY1" fmla="*/ 1500664 h 1500663"/>
                  <a:gd name="connsiteX2" fmla="*/ 2779776 w 2779775"/>
                  <a:gd name="connsiteY2" fmla="*/ 1348264 h 1500663"/>
                  <a:gd name="connsiteX3" fmla="*/ 2779776 w 2779775"/>
                  <a:gd name="connsiteY3" fmla="*/ 152400 h 1500663"/>
                  <a:gd name="connsiteX4" fmla="*/ 2627376 w 2779775"/>
                  <a:gd name="connsiteY4" fmla="*/ 0 h 1500663"/>
                  <a:gd name="connsiteX5" fmla="*/ 152400 w 2779775"/>
                  <a:gd name="connsiteY5" fmla="*/ 0 h 1500663"/>
                  <a:gd name="connsiteX6" fmla="*/ 0 w 2779775"/>
                  <a:gd name="connsiteY6" fmla="*/ 152400 h 1500663"/>
                  <a:gd name="connsiteX7" fmla="*/ 0 w 2779775"/>
                  <a:gd name="connsiteY7" fmla="*/ 1348264 h 1500663"/>
                  <a:gd name="connsiteX8" fmla="*/ 152400 w 2779775"/>
                  <a:gd name="connsiteY8" fmla="*/ 1500664 h 1500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79775" h="1500663">
                    <a:moveTo>
                      <a:pt x="152400" y="1500664"/>
                    </a:moveTo>
                    <a:lnTo>
                      <a:pt x="2627376" y="1500664"/>
                    </a:lnTo>
                    <a:cubicBezTo>
                      <a:pt x="2711548" y="1500664"/>
                      <a:pt x="2779776" y="1432436"/>
                      <a:pt x="2779776" y="1348264"/>
                    </a:cubicBezTo>
                    <a:lnTo>
                      <a:pt x="2779776" y="152400"/>
                    </a:lnTo>
                    <a:cubicBezTo>
                      <a:pt x="2779776" y="68231"/>
                      <a:pt x="2711548" y="0"/>
                      <a:pt x="2627376" y="0"/>
                    </a:cubicBezTo>
                    <a:lnTo>
                      <a:pt x="152400" y="0"/>
                    </a:lnTo>
                    <a:cubicBezTo>
                      <a:pt x="68228" y="0"/>
                      <a:pt x="0" y="68231"/>
                      <a:pt x="0" y="152400"/>
                    </a:cubicBezTo>
                    <a:lnTo>
                      <a:pt x="0" y="1348264"/>
                    </a:lnTo>
                    <a:cubicBezTo>
                      <a:pt x="0" y="1432436"/>
                      <a:pt x="68228" y="1500664"/>
                      <a:pt x="152400" y="1500664"/>
                    </a:cubicBezTo>
                    <a:close/>
                  </a:path>
                </a:pathLst>
              </a:custGeom>
              <a:solidFill>
                <a:srgbClr val="F2F2F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3" name="ís1iḓé"/>
              <p:cNvSpPr/>
              <p:nvPr/>
            </p:nvSpPr>
            <p:spPr>
              <a:xfrm>
                <a:off x="3560917" y="1970405"/>
                <a:ext cx="5057467" cy="385479"/>
              </a:xfrm>
              <a:custGeom>
                <a:avLst/>
                <a:gdLst>
                  <a:gd name="connsiteX0" fmla="*/ 3124200 w 3124200"/>
                  <a:gd name="connsiteY0" fmla="*/ 238127 h 238126"/>
                  <a:gd name="connsiteX1" fmla="*/ 0 w 3124200"/>
                  <a:gd name="connsiteY1" fmla="*/ 238127 h 238126"/>
                  <a:gd name="connsiteX2" fmla="*/ 0 w 3124200"/>
                  <a:gd name="connsiteY2" fmla="*/ 158117 h 238126"/>
                  <a:gd name="connsiteX3" fmla="*/ 159258 w 3124200"/>
                  <a:gd name="connsiteY3" fmla="*/ 1 h 238126"/>
                  <a:gd name="connsiteX4" fmla="*/ 159448 w 3124200"/>
                  <a:gd name="connsiteY4" fmla="*/ 2 h 238126"/>
                  <a:gd name="connsiteX5" fmla="*/ 2964752 w 3124200"/>
                  <a:gd name="connsiteY5" fmla="*/ 2 h 238126"/>
                  <a:gd name="connsiteX6" fmla="*/ 3124200 w 3124200"/>
                  <a:gd name="connsiteY6" fmla="*/ 157641 h 238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24200" h="238126">
                    <a:moveTo>
                      <a:pt x="3124200" y="238127"/>
                    </a:moveTo>
                    <a:lnTo>
                      <a:pt x="0" y="238127"/>
                    </a:lnTo>
                    <a:lnTo>
                      <a:pt x="0" y="158117"/>
                    </a:lnTo>
                    <a:cubicBezTo>
                      <a:pt x="314" y="70477"/>
                      <a:pt x="71619" y="-314"/>
                      <a:pt x="159258" y="1"/>
                    </a:cubicBezTo>
                    <a:cubicBezTo>
                      <a:pt x="159315" y="1"/>
                      <a:pt x="159382" y="2"/>
                      <a:pt x="159448" y="2"/>
                    </a:cubicBezTo>
                    <a:lnTo>
                      <a:pt x="2964752" y="2"/>
                    </a:lnTo>
                    <a:cubicBezTo>
                      <a:pt x="3052277" y="-420"/>
                      <a:pt x="3123619" y="70112"/>
                      <a:pt x="3124200" y="157641"/>
                    </a:cubicBezTo>
                    <a:close/>
                  </a:path>
                </a:pathLst>
              </a:custGeom>
              <a:solidFill>
                <a:srgbClr val="848EE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4" name="îṥḷiďê"/>
              <p:cNvSpPr/>
              <p:nvPr/>
            </p:nvSpPr>
            <p:spPr>
              <a:xfrm>
                <a:off x="3982013" y="2097153"/>
                <a:ext cx="131986" cy="131988"/>
              </a:xfrm>
              <a:custGeom>
                <a:avLst/>
                <a:gdLst>
                  <a:gd name="connsiteX0" fmla="*/ 81534 w 81533"/>
                  <a:gd name="connsiteY0" fmla="*/ 40767 h 81534"/>
                  <a:gd name="connsiteX1" fmla="*/ 40767 w 81533"/>
                  <a:gd name="connsiteY1" fmla="*/ 81534 h 81534"/>
                  <a:gd name="connsiteX2" fmla="*/ 0 w 81533"/>
                  <a:gd name="connsiteY2" fmla="*/ 40767 h 81534"/>
                  <a:gd name="connsiteX3" fmla="*/ 40767 w 81533"/>
                  <a:gd name="connsiteY3" fmla="*/ 0 h 81534"/>
                  <a:gd name="connsiteX4" fmla="*/ 81534 w 81533"/>
                  <a:gd name="connsiteY4" fmla="*/ 40767 h 81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1533" h="81534">
                    <a:moveTo>
                      <a:pt x="81534" y="40767"/>
                    </a:moveTo>
                    <a:cubicBezTo>
                      <a:pt x="81534" y="63282"/>
                      <a:pt x="63282" y="81534"/>
                      <a:pt x="40767" y="81534"/>
                    </a:cubicBezTo>
                    <a:cubicBezTo>
                      <a:pt x="18252" y="81534"/>
                      <a:pt x="0" y="63282"/>
                      <a:pt x="0" y="40767"/>
                    </a:cubicBezTo>
                    <a:cubicBezTo>
                      <a:pt x="0" y="18252"/>
                      <a:pt x="18252" y="0"/>
                      <a:pt x="40767" y="0"/>
                    </a:cubicBezTo>
                    <a:cubicBezTo>
                      <a:pt x="63282" y="0"/>
                      <a:pt x="81534" y="18252"/>
                      <a:pt x="81534" y="40767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5" name="îṣlíḍê"/>
              <p:cNvSpPr/>
              <p:nvPr/>
            </p:nvSpPr>
            <p:spPr>
              <a:xfrm>
                <a:off x="4232727" y="2097153"/>
                <a:ext cx="131986" cy="131988"/>
              </a:xfrm>
              <a:custGeom>
                <a:avLst/>
                <a:gdLst>
                  <a:gd name="connsiteX0" fmla="*/ 81534 w 81533"/>
                  <a:gd name="connsiteY0" fmla="*/ 40767 h 81534"/>
                  <a:gd name="connsiteX1" fmla="*/ 40767 w 81533"/>
                  <a:gd name="connsiteY1" fmla="*/ 81534 h 81534"/>
                  <a:gd name="connsiteX2" fmla="*/ 0 w 81533"/>
                  <a:gd name="connsiteY2" fmla="*/ 40767 h 81534"/>
                  <a:gd name="connsiteX3" fmla="*/ 40767 w 81533"/>
                  <a:gd name="connsiteY3" fmla="*/ 0 h 81534"/>
                  <a:gd name="connsiteX4" fmla="*/ 81534 w 81533"/>
                  <a:gd name="connsiteY4" fmla="*/ 40767 h 81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1533" h="81534">
                    <a:moveTo>
                      <a:pt x="81534" y="40767"/>
                    </a:moveTo>
                    <a:cubicBezTo>
                      <a:pt x="81534" y="63282"/>
                      <a:pt x="63282" y="81534"/>
                      <a:pt x="40767" y="81534"/>
                    </a:cubicBezTo>
                    <a:cubicBezTo>
                      <a:pt x="18252" y="81534"/>
                      <a:pt x="0" y="63282"/>
                      <a:pt x="0" y="40767"/>
                    </a:cubicBezTo>
                    <a:cubicBezTo>
                      <a:pt x="0" y="18252"/>
                      <a:pt x="18252" y="0"/>
                      <a:pt x="40767" y="0"/>
                    </a:cubicBezTo>
                    <a:cubicBezTo>
                      <a:pt x="63282" y="0"/>
                      <a:pt x="81534" y="18252"/>
                      <a:pt x="81534" y="40767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6" name="ísḷíḓè"/>
              <p:cNvSpPr/>
              <p:nvPr/>
            </p:nvSpPr>
            <p:spPr>
              <a:xfrm>
                <a:off x="4483289" y="2097153"/>
                <a:ext cx="131986" cy="131988"/>
              </a:xfrm>
              <a:custGeom>
                <a:avLst/>
                <a:gdLst>
                  <a:gd name="connsiteX0" fmla="*/ 81534 w 81533"/>
                  <a:gd name="connsiteY0" fmla="*/ 40767 h 81534"/>
                  <a:gd name="connsiteX1" fmla="*/ 40767 w 81533"/>
                  <a:gd name="connsiteY1" fmla="*/ 81534 h 81534"/>
                  <a:gd name="connsiteX2" fmla="*/ 0 w 81533"/>
                  <a:gd name="connsiteY2" fmla="*/ 40767 h 81534"/>
                  <a:gd name="connsiteX3" fmla="*/ 40767 w 81533"/>
                  <a:gd name="connsiteY3" fmla="*/ 0 h 81534"/>
                  <a:gd name="connsiteX4" fmla="*/ 81534 w 81533"/>
                  <a:gd name="connsiteY4" fmla="*/ 40767 h 81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1533" h="81534">
                    <a:moveTo>
                      <a:pt x="81534" y="40767"/>
                    </a:moveTo>
                    <a:cubicBezTo>
                      <a:pt x="81534" y="63282"/>
                      <a:pt x="63282" y="81534"/>
                      <a:pt x="40767" y="81534"/>
                    </a:cubicBezTo>
                    <a:cubicBezTo>
                      <a:pt x="18252" y="81534"/>
                      <a:pt x="0" y="63282"/>
                      <a:pt x="0" y="40767"/>
                    </a:cubicBezTo>
                    <a:cubicBezTo>
                      <a:pt x="0" y="18252"/>
                      <a:pt x="18252" y="0"/>
                      <a:pt x="40767" y="0"/>
                    </a:cubicBezTo>
                    <a:cubicBezTo>
                      <a:pt x="63282" y="0"/>
                      <a:pt x="81534" y="18252"/>
                      <a:pt x="81534" y="40767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" name="矩形 2"/>
            <p:cNvSpPr/>
            <p:nvPr/>
          </p:nvSpPr>
          <p:spPr>
            <a:xfrm>
              <a:off x="4836160" y="2927757"/>
              <a:ext cx="2661920" cy="14219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742950" lvl="1" indent="-2857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zh-CN" altLang="en-US" b="1" dirty="0"/>
                <a:t>Oracle操作符</a:t>
              </a:r>
              <a:endParaRPr lang="zh-CN" altLang="en-US" b="1" dirty="0"/>
            </a:p>
            <a:p>
              <a:pPr marL="1200150" lvl="2" indent="-285750">
                <a:lnSpc>
                  <a:spcPct val="120000"/>
                </a:lnSpc>
                <a:buFont typeface="Wingdings" panose="05000000000000000000" charset="0"/>
                <a:buChar char="n"/>
              </a:pPr>
              <a:r>
                <a:rPr lang="zh-CN" altLang="en-US" dirty="0"/>
                <a:t>MINUS</a:t>
              </a:r>
              <a:endParaRPr lang="zh-CN" altLang="en-US" dirty="0"/>
            </a:p>
            <a:p>
              <a:pPr marL="1200150" lvl="2" indent="-285750">
                <a:lnSpc>
                  <a:spcPct val="120000"/>
                </a:lnSpc>
                <a:buFont typeface="Wingdings" panose="05000000000000000000" charset="0"/>
                <a:buChar char="n"/>
              </a:pPr>
              <a:r>
                <a:rPr lang="zh-CN" altLang="en-US" dirty="0"/>
                <a:t>UNION</a:t>
              </a:r>
              <a:br>
                <a:rPr lang="en-US" altLang="zh-CN" dirty="0"/>
              </a:br>
              <a:endParaRPr lang="zh-CN" altLang="en-US" dirty="0"/>
            </a:p>
          </p:txBody>
        </p:sp>
      </p:grpSp>
      <p:grpSp>
        <p:nvGrpSpPr>
          <p:cNvPr id="213" name="组合 212"/>
          <p:cNvGrpSpPr/>
          <p:nvPr/>
        </p:nvGrpSpPr>
        <p:grpSpPr>
          <a:xfrm>
            <a:off x="7831667" y="3149600"/>
            <a:ext cx="3070013" cy="1937071"/>
            <a:chOff x="7882467" y="3515360"/>
            <a:chExt cx="3070013" cy="1937071"/>
          </a:xfrm>
        </p:grpSpPr>
        <p:grpSp>
          <p:nvGrpSpPr>
            <p:cNvPr id="200" name="组合 199"/>
            <p:cNvGrpSpPr/>
            <p:nvPr/>
          </p:nvGrpSpPr>
          <p:grpSpPr>
            <a:xfrm>
              <a:off x="8004864" y="3515360"/>
              <a:ext cx="2947616" cy="1937071"/>
              <a:chOff x="3560917" y="1970405"/>
              <a:chExt cx="5057467" cy="3323591"/>
            </a:xfrm>
          </p:grpSpPr>
          <p:sp>
            <p:nvSpPr>
              <p:cNvPr id="201" name="îṡlíḋe"/>
              <p:cNvSpPr/>
              <p:nvPr/>
            </p:nvSpPr>
            <p:spPr>
              <a:xfrm>
                <a:off x="3572019" y="2167927"/>
                <a:ext cx="5039579" cy="3126069"/>
              </a:xfrm>
              <a:custGeom>
                <a:avLst/>
                <a:gdLst>
                  <a:gd name="connsiteX0" fmla="*/ 2946464 w 3113150"/>
                  <a:gd name="connsiteY0" fmla="*/ 1931099 h 1931098"/>
                  <a:gd name="connsiteX1" fmla="*/ 166688 w 3113150"/>
                  <a:gd name="connsiteY1" fmla="*/ 1931099 h 1931098"/>
                  <a:gd name="connsiteX2" fmla="*/ 0 w 3113150"/>
                  <a:gd name="connsiteY2" fmla="*/ 1764411 h 1931098"/>
                  <a:gd name="connsiteX3" fmla="*/ 0 w 3113150"/>
                  <a:gd name="connsiteY3" fmla="*/ 124587 h 1931098"/>
                  <a:gd name="connsiteX4" fmla="*/ 124682 w 3113150"/>
                  <a:gd name="connsiteY4" fmla="*/ 0 h 1931098"/>
                  <a:gd name="connsiteX5" fmla="*/ 2986469 w 3113150"/>
                  <a:gd name="connsiteY5" fmla="*/ 0 h 1931098"/>
                  <a:gd name="connsiteX6" fmla="*/ 3113151 w 3113150"/>
                  <a:gd name="connsiteY6" fmla="*/ 126587 h 1931098"/>
                  <a:gd name="connsiteX7" fmla="*/ 3113151 w 3113150"/>
                  <a:gd name="connsiteY7" fmla="*/ 1764887 h 1931098"/>
                  <a:gd name="connsiteX8" fmla="*/ 2946464 w 3113150"/>
                  <a:gd name="connsiteY8" fmla="*/ 1931099 h 1931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13150" h="1931098">
                    <a:moveTo>
                      <a:pt x="2946464" y="1931099"/>
                    </a:moveTo>
                    <a:lnTo>
                      <a:pt x="166688" y="1931099"/>
                    </a:lnTo>
                    <a:cubicBezTo>
                      <a:pt x="74676" y="1930994"/>
                      <a:pt x="105" y="1856423"/>
                      <a:pt x="0" y="1764411"/>
                    </a:cubicBezTo>
                    <a:lnTo>
                      <a:pt x="0" y="124587"/>
                    </a:lnTo>
                    <a:cubicBezTo>
                      <a:pt x="105" y="55786"/>
                      <a:pt x="55883" y="52"/>
                      <a:pt x="124682" y="0"/>
                    </a:cubicBezTo>
                    <a:lnTo>
                      <a:pt x="2986469" y="0"/>
                    </a:lnTo>
                    <a:cubicBezTo>
                      <a:pt x="3056392" y="0"/>
                      <a:pt x="3113103" y="56659"/>
                      <a:pt x="3113151" y="126587"/>
                    </a:cubicBezTo>
                    <a:lnTo>
                      <a:pt x="3113151" y="1764887"/>
                    </a:lnTo>
                    <a:cubicBezTo>
                      <a:pt x="3112780" y="1856718"/>
                      <a:pt x="3038294" y="1930994"/>
                      <a:pt x="2946464" y="1931099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2" name="îšļíḓè"/>
              <p:cNvSpPr/>
              <p:nvPr/>
            </p:nvSpPr>
            <p:spPr>
              <a:xfrm>
                <a:off x="3572019" y="2167927"/>
                <a:ext cx="5039579" cy="3126069"/>
              </a:xfrm>
              <a:custGeom>
                <a:avLst/>
                <a:gdLst>
                  <a:gd name="connsiteX0" fmla="*/ 2946464 w 3113150"/>
                  <a:gd name="connsiteY0" fmla="*/ 1931099 h 1931098"/>
                  <a:gd name="connsiteX1" fmla="*/ 166688 w 3113150"/>
                  <a:gd name="connsiteY1" fmla="*/ 1931099 h 1931098"/>
                  <a:gd name="connsiteX2" fmla="*/ 0 w 3113150"/>
                  <a:gd name="connsiteY2" fmla="*/ 1764411 h 1931098"/>
                  <a:gd name="connsiteX3" fmla="*/ 0 w 3113150"/>
                  <a:gd name="connsiteY3" fmla="*/ 124587 h 1931098"/>
                  <a:gd name="connsiteX4" fmla="*/ 124682 w 3113150"/>
                  <a:gd name="connsiteY4" fmla="*/ 0 h 1931098"/>
                  <a:gd name="connsiteX5" fmla="*/ 2986469 w 3113150"/>
                  <a:gd name="connsiteY5" fmla="*/ 0 h 1931098"/>
                  <a:gd name="connsiteX6" fmla="*/ 3113151 w 3113150"/>
                  <a:gd name="connsiteY6" fmla="*/ 126587 h 1931098"/>
                  <a:gd name="connsiteX7" fmla="*/ 3113151 w 3113150"/>
                  <a:gd name="connsiteY7" fmla="*/ 1764887 h 1931098"/>
                  <a:gd name="connsiteX8" fmla="*/ 2946464 w 3113150"/>
                  <a:gd name="connsiteY8" fmla="*/ 1931099 h 1931098"/>
                  <a:gd name="connsiteX9" fmla="*/ 124682 w 3113150"/>
                  <a:gd name="connsiteY9" fmla="*/ 19050 h 1931098"/>
                  <a:gd name="connsiteX10" fmla="*/ 19050 w 3113150"/>
                  <a:gd name="connsiteY10" fmla="*/ 124587 h 1931098"/>
                  <a:gd name="connsiteX11" fmla="*/ 19050 w 3113150"/>
                  <a:gd name="connsiteY11" fmla="*/ 1764411 h 1931098"/>
                  <a:gd name="connsiteX12" fmla="*/ 166688 w 3113150"/>
                  <a:gd name="connsiteY12" fmla="*/ 1912049 h 1931098"/>
                  <a:gd name="connsiteX13" fmla="*/ 2946464 w 3113150"/>
                  <a:gd name="connsiteY13" fmla="*/ 1912049 h 1931098"/>
                  <a:gd name="connsiteX14" fmla="*/ 3094101 w 3113150"/>
                  <a:gd name="connsiteY14" fmla="*/ 1764411 h 1931098"/>
                  <a:gd name="connsiteX15" fmla="*/ 3094101 w 3113150"/>
                  <a:gd name="connsiteY15" fmla="*/ 126587 h 1931098"/>
                  <a:gd name="connsiteX16" fmla="*/ 2986469 w 3113150"/>
                  <a:gd name="connsiteY16" fmla="*/ 19050 h 1931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113150" h="1931098">
                    <a:moveTo>
                      <a:pt x="2946464" y="1931099"/>
                    </a:moveTo>
                    <a:lnTo>
                      <a:pt x="166688" y="1931099"/>
                    </a:lnTo>
                    <a:cubicBezTo>
                      <a:pt x="74676" y="1930994"/>
                      <a:pt x="105" y="1856423"/>
                      <a:pt x="0" y="1764411"/>
                    </a:cubicBezTo>
                    <a:lnTo>
                      <a:pt x="0" y="124587"/>
                    </a:lnTo>
                    <a:cubicBezTo>
                      <a:pt x="105" y="55786"/>
                      <a:pt x="55883" y="52"/>
                      <a:pt x="124682" y="0"/>
                    </a:cubicBezTo>
                    <a:lnTo>
                      <a:pt x="2986469" y="0"/>
                    </a:lnTo>
                    <a:cubicBezTo>
                      <a:pt x="3056392" y="0"/>
                      <a:pt x="3113103" y="56659"/>
                      <a:pt x="3113151" y="126587"/>
                    </a:cubicBezTo>
                    <a:lnTo>
                      <a:pt x="3113151" y="1764887"/>
                    </a:lnTo>
                    <a:cubicBezTo>
                      <a:pt x="3112780" y="1856718"/>
                      <a:pt x="3038294" y="1930994"/>
                      <a:pt x="2946464" y="1931099"/>
                    </a:cubicBezTo>
                    <a:close/>
                    <a:moveTo>
                      <a:pt x="124682" y="19050"/>
                    </a:moveTo>
                    <a:cubicBezTo>
                      <a:pt x="66380" y="19050"/>
                      <a:pt x="19107" y="66285"/>
                      <a:pt x="19050" y="124587"/>
                    </a:cubicBezTo>
                    <a:lnTo>
                      <a:pt x="19050" y="1764411"/>
                    </a:lnTo>
                    <a:cubicBezTo>
                      <a:pt x="19212" y="1845888"/>
                      <a:pt x="85211" y="1911887"/>
                      <a:pt x="166688" y="1912049"/>
                    </a:cubicBezTo>
                    <a:lnTo>
                      <a:pt x="2946464" y="1912049"/>
                    </a:lnTo>
                    <a:cubicBezTo>
                      <a:pt x="3027960" y="1911944"/>
                      <a:pt x="3093996" y="1845907"/>
                      <a:pt x="3094101" y="1764411"/>
                    </a:cubicBezTo>
                    <a:lnTo>
                      <a:pt x="3094101" y="126587"/>
                    </a:lnTo>
                    <a:cubicBezTo>
                      <a:pt x="3093996" y="67203"/>
                      <a:pt x="3045857" y="19102"/>
                      <a:pt x="2986469" y="19050"/>
                    </a:cubicBezTo>
                    <a:close/>
                  </a:path>
                </a:pathLst>
              </a:custGeom>
              <a:solidFill>
                <a:srgbClr val="3F3D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3" name="îslíḋè"/>
              <p:cNvSpPr/>
              <p:nvPr/>
            </p:nvSpPr>
            <p:spPr>
              <a:xfrm>
                <a:off x="3841852" y="2594881"/>
                <a:ext cx="4499910" cy="2429279"/>
              </a:xfrm>
              <a:custGeom>
                <a:avLst/>
                <a:gdLst>
                  <a:gd name="connsiteX0" fmla="*/ 152400 w 2779775"/>
                  <a:gd name="connsiteY0" fmla="*/ 1500664 h 1500663"/>
                  <a:gd name="connsiteX1" fmla="*/ 2627376 w 2779775"/>
                  <a:gd name="connsiteY1" fmla="*/ 1500664 h 1500663"/>
                  <a:gd name="connsiteX2" fmla="*/ 2779776 w 2779775"/>
                  <a:gd name="connsiteY2" fmla="*/ 1348264 h 1500663"/>
                  <a:gd name="connsiteX3" fmla="*/ 2779776 w 2779775"/>
                  <a:gd name="connsiteY3" fmla="*/ 152400 h 1500663"/>
                  <a:gd name="connsiteX4" fmla="*/ 2627376 w 2779775"/>
                  <a:gd name="connsiteY4" fmla="*/ 0 h 1500663"/>
                  <a:gd name="connsiteX5" fmla="*/ 152400 w 2779775"/>
                  <a:gd name="connsiteY5" fmla="*/ 0 h 1500663"/>
                  <a:gd name="connsiteX6" fmla="*/ 0 w 2779775"/>
                  <a:gd name="connsiteY6" fmla="*/ 152400 h 1500663"/>
                  <a:gd name="connsiteX7" fmla="*/ 0 w 2779775"/>
                  <a:gd name="connsiteY7" fmla="*/ 1348264 h 1500663"/>
                  <a:gd name="connsiteX8" fmla="*/ 152400 w 2779775"/>
                  <a:gd name="connsiteY8" fmla="*/ 1500664 h 1500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79775" h="1500663">
                    <a:moveTo>
                      <a:pt x="152400" y="1500664"/>
                    </a:moveTo>
                    <a:lnTo>
                      <a:pt x="2627376" y="1500664"/>
                    </a:lnTo>
                    <a:cubicBezTo>
                      <a:pt x="2711548" y="1500664"/>
                      <a:pt x="2779776" y="1432436"/>
                      <a:pt x="2779776" y="1348264"/>
                    </a:cubicBezTo>
                    <a:lnTo>
                      <a:pt x="2779776" y="152400"/>
                    </a:lnTo>
                    <a:cubicBezTo>
                      <a:pt x="2779776" y="68231"/>
                      <a:pt x="2711548" y="0"/>
                      <a:pt x="2627376" y="0"/>
                    </a:cubicBezTo>
                    <a:lnTo>
                      <a:pt x="152400" y="0"/>
                    </a:lnTo>
                    <a:cubicBezTo>
                      <a:pt x="68228" y="0"/>
                      <a:pt x="0" y="68231"/>
                      <a:pt x="0" y="152400"/>
                    </a:cubicBezTo>
                    <a:lnTo>
                      <a:pt x="0" y="1348264"/>
                    </a:lnTo>
                    <a:cubicBezTo>
                      <a:pt x="0" y="1432436"/>
                      <a:pt x="68228" y="1500664"/>
                      <a:pt x="152400" y="1500664"/>
                    </a:cubicBezTo>
                    <a:close/>
                  </a:path>
                </a:pathLst>
              </a:custGeom>
              <a:solidFill>
                <a:srgbClr val="F2F2F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4" name="ís1iḓé"/>
              <p:cNvSpPr/>
              <p:nvPr/>
            </p:nvSpPr>
            <p:spPr>
              <a:xfrm>
                <a:off x="3560917" y="1970405"/>
                <a:ext cx="5057467" cy="385479"/>
              </a:xfrm>
              <a:custGeom>
                <a:avLst/>
                <a:gdLst>
                  <a:gd name="connsiteX0" fmla="*/ 3124200 w 3124200"/>
                  <a:gd name="connsiteY0" fmla="*/ 238127 h 238126"/>
                  <a:gd name="connsiteX1" fmla="*/ 0 w 3124200"/>
                  <a:gd name="connsiteY1" fmla="*/ 238127 h 238126"/>
                  <a:gd name="connsiteX2" fmla="*/ 0 w 3124200"/>
                  <a:gd name="connsiteY2" fmla="*/ 158117 h 238126"/>
                  <a:gd name="connsiteX3" fmla="*/ 159258 w 3124200"/>
                  <a:gd name="connsiteY3" fmla="*/ 1 h 238126"/>
                  <a:gd name="connsiteX4" fmla="*/ 159448 w 3124200"/>
                  <a:gd name="connsiteY4" fmla="*/ 2 h 238126"/>
                  <a:gd name="connsiteX5" fmla="*/ 2964752 w 3124200"/>
                  <a:gd name="connsiteY5" fmla="*/ 2 h 238126"/>
                  <a:gd name="connsiteX6" fmla="*/ 3124200 w 3124200"/>
                  <a:gd name="connsiteY6" fmla="*/ 157641 h 238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24200" h="238126">
                    <a:moveTo>
                      <a:pt x="3124200" y="238127"/>
                    </a:moveTo>
                    <a:lnTo>
                      <a:pt x="0" y="238127"/>
                    </a:lnTo>
                    <a:lnTo>
                      <a:pt x="0" y="158117"/>
                    </a:lnTo>
                    <a:cubicBezTo>
                      <a:pt x="314" y="70477"/>
                      <a:pt x="71619" y="-314"/>
                      <a:pt x="159258" y="1"/>
                    </a:cubicBezTo>
                    <a:cubicBezTo>
                      <a:pt x="159315" y="1"/>
                      <a:pt x="159382" y="2"/>
                      <a:pt x="159448" y="2"/>
                    </a:cubicBezTo>
                    <a:lnTo>
                      <a:pt x="2964752" y="2"/>
                    </a:lnTo>
                    <a:cubicBezTo>
                      <a:pt x="3052277" y="-420"/>
                      <a:pt x="3123619" y="70112"/>
                      <a:pt x="3124200" y="157641"/>
                    </a:cubicBezTo>
                    <a:close/>
                  </a:path>
                </a:pathLst>
              </a:custGeom>
              <a:solidFill>
                <a:srgbClr val="848EE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5" name="îṥḷiďê"/>
              <p:cNvSpPr/>
              <p:nvPr/>
            </p:nvSpPr>
            <p:spPr>
              <a:xfrm>
                <a:off x="3982013" y="2097153"/>
                <a:ext cx="131986" cy="131988"/>
              </a:xfrm>
              <a:custGeom>
                <a:avLst/>
                <a:gdLst>
                  <a:gd name="connsiteX0" fmla="*/ 81534 w 81533"/>
                  <a:gd name="connsiteY0" fmla="*/ 40767 h 81534"/>
                  <a:gd name="connsiteX1" fmla="*/ 40767 w 81533"/>
                  <a:gd name="connsiteY1" fmla="*/ 81534 h 81534"/>
                  <a:gd name="connsiteX2" fmla="*/ 0 w 81533"/>
                  <a:gd name="connsiteY2" fmla="*/ 40767 h 81534"/>
                  <a:gd name="connsiteX3" fmla="*/ 40767 w 81533"/>
                  <a:gd name="connsiteY3" fmla="*/ 0 h 81534"/>
                  <a:gd name="connsiteX4" fmla="*/ 81534 w 81533"/>
                  <a:gd name="connsiteY4" fmla="*/ 40767 h 81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1533" h="81534">
                    <a:moveTo>
                      <a:pt x="81534" y="40767"/>
                    </a:moveTo>
                    <a:cubicBezTo>
                      <a:pt x="81534" y="63282"/>
                      <a:pt x="63282" y="81534"/>
                      <a:pt x="40767" y="81534"/>
                    </a:cubicBezTo>
                    <a:cubicBezTo>
                      <a:pt x="18252" y="81534"/>
                      <a:pt x="0" y="63282"/>
                      <a:pt x="0" y="40767"/>
                    </a:cubicBezTo>
                    <a:cubicBezTo>
                      <a:pt x="0" y="18252"/>
                      <a:pt x="18252" y="0"/>
                      <a:pt x="40767" y="0"/>
                    </a:cubicBezTo>
                    <a:cubicBezTo>
                      <a:pt x="63282" y="0"/>
                      <a:pt x="81534" y="18252"/>
                      <a:pt x="81534" y="40767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6" name="îṣlíḍê"/>
              <p:cNvSpPr/>
              <p:nvPr/>
            </p:nvSpPr>
            <p:spPr>
              <a:xfrm>
                <a:off x="4232727" y="2097153"/>
                <a:ext cx="131986" cy="131988"/>
              </a:xfrm>
              <a:custGeom>
                <a:avLst/>
                <a:gdLst>
                  <a:gd name="connsiteX0" fmla="*/ 81534 w 81533"/>
                  <a:gd name="connsiteY0" fmla="*/ 40767 h 81534"/>
                  <a:gd name="connsiteX1" fmla="*/ 40767 w 81533"/>
                  <a:gd name="connsiteY1" fmla="*/ 81534 h 81534"/>
                  <a:gd name="connsiteX2" fmla="*/ 0 w 81533"/>
                  <a:gd name="connsiteY2" fmla="*/ 40767 h 81534"/>
                  <a:gd name="connsiteX3" fmla="*/ 40767 w 81533"/>
                  <a:gd name="connsiteY3" fmla="*/ 0 h 81534"/>
                  <a:gd name="connsiteX4" fmla="*/ 81534 w 81533"/>
                  <a:gd name="connsiteY4" fmla="*/ 40767 h 81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1533" h="81534">
                    <a:moveTo>
                      <a:pt x="81534" y="40767"/>
                    </a:moveTo>
                    <a:cubicBezTo>
                      <a:pt x="81534" y="63282"/>
                      <a:pt x="63282" y="81534"/>
                      <a:pt x="40767" y="81534"/>
                    </a:cubicBezTo>
                    <a:cubicBezTo>
                      <a:pt x="18252" y="81534"/>
                      <a:pt x="0" y="63282"/>
                      <a:pt x="0" y="40767"/>
                    </a:cubicBezTo>
                    <a:cubicBezTo>
                      <a:pt x="0" y="18252"/>
                      <a:pt x="18252" y="0"/>
                      <a:pt x="40767" y="0"/>
                    </a:cubicBezTo>
                    <a:cubicBezTo>
                      <a:pt x="63282" y="0"/>
                      <a:pt x="81534" y="18252"/>
                      <a:pt x="81534" y="40767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7" name="ísḷíḓè"/>
              <p:cNvSpPr/>
              <p:nvPr/>
            </p:nvSpPr>
            <p:spPr>
              <a:xfrm>
                <a:off x="4483289" y="2097153"/>
                <a:ext cx="131986" cy="131988"/>
              </a:xfrm>
              <a:custGeom>
                <a:avLst/>
                <a:gdLst>
                  <a:gd name="connsiteX0" fmla="*/ 81534 w 81533"/>
                  <a:gd name="connsiteY0" fmla="*/ 40767 h 81534"/>
                  <a:gd name="connsiteX1" fmla="*/ 40767 w 81533"/>
                  <a:gd name="connsiteY1" fmla="*/ 81534 h 81534"/>
                  <a:gd name="connsiteX2" fmla="*/ 0 w 81533"/>
                  <a:gd name="connsiteY2" fmla="*/ 40767 h 81534"/>
                  <a:gd name="connsiteX3" fmla="*/ 40767 w 81533"/>
                  <a:gd name="connsiteY3" fmla="*/ 0 h 81534"/>
                  <a:gd name="connsiteX4" fmla="*/ 81534 w 81533"/>
                  <a:gd name="connsiteY4" fmla="*/ 40767 h 81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1533" h="81534">
                    <a:moveTo>
                      <a:pt x="81534" y="40767"/>
                    </a:moveTo>
                    <a:cubicBezTo>
                      <a:pt x="81534" y="63282"/>
                      <a:pt x="63282" y="81534"/>
                      <a:pt x="40767" y="81534"/>
                    </a:cubicBezTo>
                    <a:cubicBezTo>
                      <a:pt x="18252" y="81534"/>
                      <a:pt x="0" y="63282"/>
                      <a:pt x="0" y="40767"/>
                    </a:cubicBezTo>
                    <a:cubicBezTo>
                      <a:pt x="0" y="18252"/>
                      <a:pt x="18252" y="0"/>
                      <a:pt x="40767" y="0"/>
                    </a:cubicBezTo>
                    <a:cubicBezTo>
                      <a:pt x="63282" y="0"/>
                      <a:pt x="81534" y="18252"/>
                      <a:pt x="81534" y="40767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11" name="矩形 210"/>
            <p:cNvSpPr/>
            <p:nvPr/>
          </p:nvSpPr>
          <p:spPr>
            <a:xfrm>
              <a:off x="7882467" y="4151354"/>
              <a:ext cx="2319866" cy="4247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742950" lvl="1" indent="-2857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zh-CN" altLang="en-US" b="1" dirty="0"/>
                <a:t>序列和转义符</a:t>
              </a:r>
              <a:endParaRPr lang="zh-CN" altLang="en-US" b="1" dirty="0"/>
            </a:p>
          </p:txBody>
        </p:sp>
      </p:grpSp>
    </p:spTree>
    <p:custDataLst>
      <p:tags r:id="rId1"/>
    </p:custData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本框 16"/>
          <p:cNvSpPr txBox="1"/>
          <p:nvPr/>
        </p:nvSpPr>
        <p:spPr>
          <a:xfrm>
            <a:off x="669923" y="915745"/>
            <a:ext cx="10850565" cy="628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3200" b="1" dirty="0">
                <a:latin typeface="+mj-lt"/>
                <a:ea typeface="+mj-ea"/>
              </a:rPr>
              <a:t>Oracle</a:t>
            </a:r>
            <a:r>
              <a:rPr lang="zh-CN" altLang="en-US" sz="3200" b="1" dirty="0">
                <a:latin typeface="+mj-lt"/>
                <a:ea typeface="+mj-ea"/>
              </a:rPr>
              <a:t>兼容列表</a:t>
            </a:r>
            <a:endParaRPr lang="zh-CN" altLang="en-US" sz="3200" b="1" dirty="0">
              <a:latin typeface="+mj-lt"/>
              <a:ea typeface="+mj-ea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150971" y="1078103"/>
            <a:ext cx="6576060" cy="4858802"/>
          </a:xfrm>
          <a:prstGeom prst="rect">
            <a:avLst/>
          </a:prstGeom>
        </p:spPr>
      </p:pic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本框 16"/>
          <p:cNvSpPr txBox="1"/>
          <p:nvPr/>
        </p:nvSpPr>
        <p:spPr>
          <a:xfrm>
            <a:off x="669923" y="915745"/>
            <a:ext cx="10850565" cy="628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20000"/>
              </a:lnSpc>
            </a:pPr>
            <a:r>
              <a:rPr lang="zh-CN" altLang="zh-CN" sz="3200" b="1" dirty="0">
                <a:solidFill>
                  <a:schemeClr val="dk1"/>
                </a:solidFill>
              </a:rPr>
              <a:t>贡献途径</a:t>
            </a:r>
            <a:endParaRPr lang="zh-CN" altLang="zh-CN" sz="3200" b="1" dirty="0">
              <a:solidFill>
                <a:schemeClr val="dk1"/>
              </a:solidFill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4" name="Google Shape;181;g1057c05bba8_0_25"/>
          <p:cNvSpPr txBox="1"/>
          <p:nvPr/>
        </p:nvSpPr>
        <p:spPr>
          <a:xfrm>
            <a:off x="205741" y="1659890"/>
            <a:ext cx="9692640" cy="40246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914400" lvl="1" indent="-3492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Arial" panose="020B0604020202020204" pitchFamily="34" charset="0"/>
              <a:buChar char="•"/>
            </a:pPr>
            <a:r>
              <a:rPr lang="zh-CN" dirty="0">
                <a:solidFill>
                  <a:schemeClr val="dk1"/>
                </a:solidFill>
              </a:rPr>
              <a:t>贡献源码</a:t>
            </a:r>
            <a:endParaRPr dirty="0">
              <a:solidFill>
                <a:schemeClr val="dk1"/>
              </a:solidFill>
            </a:endParaRPr>
          </a:p>
          <a:p>
            <a:pPr marL="1371600" lvl="2" indent="-3492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Arial" panose="020B0604020202020204" pitchFamily="34" charset="0"/>
              <a:buChar char="○"/>
            </a:pPr>
            <a:r>
              <a:rPr lang="zh-CN" altLang="en-US" sz="1600" dirty="0">
                <a:solidFill>
                  <a:schemeClr val="dk1"/>
                </a:solidFill>
              </a:rPr>
              <a:t>提交特性代码</a:t>
            </a:r>
            <a:endParaRPr lang="zh-CN" altLang="en-US" sz="1600" dirty="0">
              <a:solidFill>
                <a:schemeClr val="dk1"/>
              </a:solidFill>
            </a:endParaRPr>
          </a:p>
          <a:p>
            <a:pPr marL="1371600" lvl="2" indent="-3492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Arial" panose="020B0604020202020204" pitchFamily="34" charset="0"/>
              <a:buChar char="○"/>
            </a:pPr>
            <a:r>
              <a:rPr lang="zh-CN" altLang="en-US" sz="1600" dirty="0">
                <a:solidFill>
                  <a:schemeClr val="dk1"/>
                </a:solidFill>
              </a:rPr>
              <a:t>审查</a:t>
            </a:r>
            <a:r>
              <a:rPr lang="en-US" altLang="zh-CN" sz="1600" dirty="0">
                <a:solidFill>
                  <a:schemeClr val="dk1"/>
                </a:solidFill>
              </a:rPr>
              <a:t>PR</a:t>
            </a:r>
            <a:endParaRPr sz="1600" dirty="0">
              <a:solidFill>
                <a:schemeClr val="dk1"/>
              </a:solidFill>
            </a:endParaRPr>
          </a:p>
          <a:p>
            <a:pPr marL="1371600" lvl="2" indent="-3492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Arial" panose="020B0604020202020204" pitchFamily="34" charset="0"/>
              <a:buChar char="○"/>
            </a:pPr>
            <a:r>
              <a:rPr lang="zh-CN" sz="1600" dirty="0">
                <a:solidFill>
                  <a:schemeClr val="dk1"/>
                </a:solidFill>
              </a:rPr>
              <a:t>提交修复</a:t>
            </a:r>
            <a:r>
              <a:rPr lang="en-US" altLang="zh-CN" sz="1600" dirty="0">
                <a:solidFill>
                  <a:schemeClr val="dk1"/>
                </a:solidFill>
              </a:rPr>
              <a:t>BUG</a:t>
            </a:r>
            <a:r>
              <a:rPr lang="zh-CN" altLang="en-US" sz="1600" dirty="0">
                <a:solidFill>
                  <a:schemeClr val="dk1"/>
                </a:solidFill>
              </a:rPr>
              <a:t>的</a:t>
            </a:r>
            <a:r>
              <a:rPr lang="en-US" altLang="zh-CN" sz="1600" dirty="0">
                <a:solidFill>
                  <a:schemeClr val="dk1"/>
                </a:solidFill>
              </a:rPr>
              <a:t>PR</a:t>
            </a:r>
            <a:endParaRPr lang="en-US" altLang="zh-CN" sz="1600" dirty="0">
              <a:solidFill>
                <a:schemeClr val="dk1"/>
              </a:solidFill>
            </a:endParaRPr>
          </a:p>
          <a:p>
            <a:pPr marL="914400" lvl="1" indent="-3492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dk1"/>
                </a:solidFill>
              </a:rPr>
              <a:t>测试并报告</a:t>
            </a:r>
            <a:r>
              <a:rPr lang="en-US" altLang="zh-CN" dirty="0">
                <a:solidFill>
                  <a:schemeClr val="dk1"/>
                </a:solidFill>
              </a:rPr>
              <a:t>Bug</a:t>
            </a:r>
            <a:endParaRPr dirty="0">
              <a:solidFill>
                <a:schemeClr val="dk1"/>
              </a:solidFill>
            </a:endParaRPr>
          </a:p>
          <a:p>
            <a:pPr marL="914400" lvl="1" indent="-3492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dk1"/>
                </a:solidFill>
              </a:rPr>
              <a:t>关于</a:t>
            </a:r>
            <a:r>
              <a:rPr lang="en-US" dirty="0">
                <a:solidFill>
                  <a:schemeClr val="dk1"/>
                </a:solidFill>
              </a:rPr>
              <a:t>IvorySQL</a:t>
            </a:r>
            <a:r>
              <a:rPr lang="zh-CN" altLang="en-US" dirty="0">
                <a:solidFill>
                  <a:schemeClr val="dk1"/>
                </a:solidFill>
              </a:rPr>
              <a:t>的博客</a:t>
            </a:r>
            <a:endParaRPr dirty="0">
              <a:solidFill>
                <a:schemeClr val="dk1"/>
              </a:solidFill>
            </a:endParaRPr>
          </a:p>
          <a:p>
            <a:pPr marL="914400" lvl="1" indent="-3492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dk1"/>
                </a:solidFill>
              </a:rPr>
              <a:t>回答用户问题</a:t>
            </a:r>
            <a:endParaRPr dirty="0">
              <a:solidFill>
                <a:schemeClr val="dk1"/>
              </a:solidFill>
            </a:endParaRPr>
          </a:p>
          <a:p>
            <a:pPr marL="914400" lvl="1" indent="-3492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dk1"/>
                </a:solidFill>
              </a:rPr>
              <a:t>贡献文档及站点资料</a:t>
            </a:r>
            <a:endParaRPr dirty="0">
              <a:solidFill>
                <a:schemeClr val="dk1"/>
              </a:solidFill>
            </a:endParaRPr>
          </a:p>
          <a:p>
            <a:pPr marL="914400" lvl="1" indent="-3492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Arial" panose="020B0604020202020204" pitchFamily="34" charset="0"/>
              <a:buChar char="•"/>
            </a:pPr>
            <a:r>
              <a:rPr lang="zh-CN" dirty="0">
                <a:solidFill>
                  <a:schemeClr val="dk1"/>
                </a:solidFill>
              </a:rPr>
              <a:t>为</a:t>
            </a:r>
            <a:r>
              <a:rPr dirty="0">
                <a:solidFill>
                  <a:schemeClr val="dk1"/>
                </a:solidFill>
              </a:rPr>
              <a:t>IvorySQ</a:t>
            </a:r>
            <a:r>
              <a:rPr lang="en-US" dirty="0">
                <a:solidFill>
                  <a:schemeClr val="dk1"/>
                </a:solidFill>
              </a:rPr>
              <a:t>L</a:t>
            </a:r>
            <a:r>
              <a:rPr dirty="0">
                <a:solidFill>
                  <a:schemeClr val="dk1"/>
                </a:solidFill>
              </a:rPr>
              <a:t>创建和托管（RPM和/或DEB）包</a:t>
            </a:r>
            <a:endParaRPr dirty="0">
              <a:solidFill>
                <a:schemeClr val="dk1"/>
              </a:solidFill>
            </a:endParaRPr>
          </a:p>
        </p:txBody>
      </p:sp>
      <p:grpSp>
        <p:nvGrpSpPr>
          <p:cNvPr id="3" name="组合 2"/>
          <p:cNvGrpSpPr/>
          <p:nvPr/>
        </p:nvGrpSpPr>
        <p:grpSpPr>
          <a:xfrm>
            <a:off x="6953908" y="2141961"/>
            <a:ext cx="4695111" cy="2847302"/>
            <a:chOff x="6907609" y="2304006"/>
            <a:chExt cx="4695111" cy="2847302"/>
          </a:xfrm>
        </p:grpSpPr>
        <p:grpSp>
          <p:nvGrpSpPr>
            <p:cNvPr id="6" name="组合 5"/>
            <p:cNvGrpSpPr/>
            <p:nvPr/>
          </p:nvGrpSpPr>
          <p:grpSpPr>
            <a:xfrm>
              <a:off x="6907609" y="2304006"/>
              <a:ext cx="4695111" cy="2847302"/>
              <a:chOff x="1841500" y="1247366"/>
              <a:chExt cx="7865031" cy="4769668"/>
            </a:xfrm>
          </p:grpSpPr>
          <p:sp>
            <p:nvSpPr>
              <p:cNvPr id="7" name="íṧ1ïḓè"/>
              <p:cNvSpPr/>
              <p:nvPr/>
            </p:nvSpPr>
            <p:spPr>
              <a:xfrm>
                <a:off x="1841500" y="5997984"/>
                <a:ext cx="3648075" cy="19050"/>
              </a:xfrm>
              <a:custGeom>
                <a:avLst/>
                <a:gdLst>
                  <a:gd name="connsiteX0" fmla="*/ 3638550 w 3648075"/>
                  <a:gd name="connsiteY0" fmla="*/ 19050 h 19050"/>
                  <a:gd name="connsiteX1" fmla="*/ 9525 w 3648075"/>
                  <a:gd name="connsiteY1" fmla="*/ 19050 h 19050"/>
                  <a:gd name="connsiteX2" fmla="*/ 0 w 3648075"/>
                  <a:gd name="connsiteY2" fmla="*/ 9525 h 19050"/>
                  <a:gd name="connsiteX3" fmla="*/ 9525 w 3648075"/>
                  <a:gd name="connsiteY3" fmla="*/ 0 h 19050"/>
                  <a:gd name="connsiteX4" fmla="*/ 3638550 w 3648075"/>
                  <a:gd name="connsiteY4" fmla="*/ 0 h 19050"/>
                  <a:gd name="connsiteX5" fmla="*/ 3648075 w 3648075"/>
                  <a:gd name="connsiteY5" fmla="*/ 9525 h 19050"/>
                  <a:gd name="connsiteX6" fmla="*/ 3638550 w 3648075"/>
                  <a:gd name="connsiteY6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48075" h="19050">
                    <a:moveTo>
                      <a:pt x="3638550" y="19050"/>
                    </a:moveTo>
                    <a:lnTo>
                      <a:pt x="9525" y="19050"/>
                    </a:lnTo>
                    <a:cubicBezTo>
                      <a:pt x="4264" y="19050"/>
                      <a:pt x="0" y="14783"/>
                      <a:pt x="0" y="9525"/>
                    </a:cubicBezTo>
                    <a:cubicBezTo>
                      <a:pt x="0" y="4267"/>
                      <a:pt x="4264" y="0"/>
                      <a:pt x="9525" y="0"/>
                    </a:cubicBezTo>
                    <a:lnTo>
                      <a:pt x="3638550" y="0"/>
                    </a:lnTo>
                    <a:cubicBezTo>
                      <a:pt x="3643808" y="0"/>
                      <a:pt x="3648075" y="4267"/>
                      <a:pt x="3648075" y="9525"/>
                    </a:cubicBezTo>
                    <a:cubicBezTo>
                      <a:pt x="3648075" y="14783"/>
                      <a:pt x="3643808" y="19050"/>
                      <a:pt x="3638550" y="19050"/>
                    </a:cubicBezTo>
                    <a:close/>
                  </a:path>
                </a:pathLst>
              </a:custGeom>
              <a:solidFill>
                <a:srgbClr val="CBCBC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8" name="îṣliḑe"/>
              <p:cNvGrpSpPr/>
              <p:nvPr/>
            </p:nvGrpSpPr>
            <p:grpSpPr>
              <a:xfrm>
                <a:off x="2472770" y="1247366"/>
                <a:ext cx="7233761" cy="4769668"/>
                <a:chOff x="3104039" y="1247366"/>
                <a:chExt cx="7233761" cy="4769668"/>
              </a:xfrm>
            </p:grpSpPr>
            <p:sp>
              <p:nvSpPr>
                <p:cNvPr id="9" name="íṧlïḋê"/>
                <p:cNvSpPr/>
                <p:nvPr/>
              </p:nvSpPr>
              <p:spPr>
                <a:xfrm>
                  <a:off x="9434830" y="5007384"/>
                  <a:ext cx="327806" cy="990600"/>
                </a:xfrm>
                <a:custGeom>
                  <a:avLst/>
                  <a:gdLst>
                    <a:gd name="connsiteX0" fmla="*/ 327470 w 327806"/>
                    <a:gd name="connsiteY0" fmla="*/ 731996 h 990600"/>
                    <a:gd name="connsiteX1" fmla="*/ 284702 w 327806"/>
                    <a:gd name="connsiteY1" fmla="*/ 984885 h 990600"/>
                    <a:gd name="connsiteX2" fmla="*/ 282893 w 327806"/>
                    <a:gd name="connsiteY2" fmla="*/ 990600 h 990600"/>
                    <a:gd name="connsiteX3" fmla="*/ 123349 w 327806"/>
                    <a:gd name="connsiteY3" fmla="*/ 990600 h 990600"/>
                    <a:gd name="connsiteX4" fmla="*/ 123825 w 327806"/>
                    <a:gd name="connsiteY4" fmla="*/ 984885 h 990600"/>
                    <a:gd name="connsiteX5" fmla="*/ 0 w 327806"/>
                    <a:gd name="connsiteY5" fmla="*/ 0 h 990600"/>
                    <a:gd name="connsiteX6" fmla="*/ 327470 w 327806"/>
                    <a:gd name="connsiteY6" fmla="*/ 731996 h 990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7806" h="990600">
                      <a:moveTo>
                        <a:pt x="327470" y="731996"/>
                      </a:moveTo>
                      <a:cubicBezTo>
                        <a:pt x="325193" y="817883"/>
                        <a:pt x="310801" y="903027"/>
                        <a:pt x="284702" y="984885"/>
                      </a:cubicBezTo>
                      <a:cubicBezTo>
                        <a:pt x="284131" y="986790"/>
                        <a:pt x="283464" y="988695"/>
                        <a:pt x="282893" y="990600"/>
                      </a:cubicBezTo>
                      <a:lnTo>
                        <a:pt x="123349" y="990600"/>
                      </a:lnTo>
                      <a:cubicBezTo>
                        <a:pt x="123349" y="988886"/>
                        <a:pt x="123349" y="986980"/>
                        <a:pt x="123825" y="984885"/>
                      </a:cubicBezTo>
                      <a:cubicBezTo>
                        <a:pt x="134493" y="862679"/>
                        <a:pt x="73723" y="127635"/>
                        <a:pt x="0" y="0"/>
                      </a:cubicBezTo>
                      <a:cubicBezTo>
                        <a:pt x="6858" y="10287"/>
                        <a:pt x="339852" y="343376"/>
                        <a:pt x="327470" y="731996"/>
                      </a:cubicBezTo>
                      <a:close/>
                    </a:path>
                  </a:pathLst>
                </a:custGeom>
                <a:solidFill>
                  <a:srgbClr val="F1F1F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" name="ïŝḷidè"/>
                <p:cNvSpPr/>
                <p:nvPr/>
              </p:nvSpPr>
              <p:spPr>
                <a:xfrm>
                  <a:off x="9626473" y="5452487"/>
                  <a:ext cx="248715" cy="545496"/>
                </a:xfrm>
                <a:custGeom>
                  <a:avLst/>
                  <a:gdLst>
                    <a:gd name="connsiteX0" fmla="*/ 123825 w 248715"/>
                    <a:gd name="connsiteY0" fmla="*/ 539782 h 545496"/>
                    <a:gd name="connsiteX1" fmla="*/ 119729 w 248715"/>
                    <a:gd name="connsiteY1" fmla="*/ 545497 h 545496"/>
                    <a:gd name="connsiteX2" fmla="*/ 0 w 248715"/>
                    <a:gd name="connsiteY2" fmla="*/ 545497 h 545496"/>
                    <a:gd name="connsiteX3" fmla="*/ 3238 w 248715"/>
                    <a:gd name="connsiteY3" fmla="*/ 539782 h 545496"/>
                    <a:gd name="connsiteX4" fmla="*/ 135827 w 248715"/>
                    <a:gd name="connsiteY4" fmla="*/ 286893 h 545496"/>
                    <a:gd name="connsiteX5" fmla="*/ 243268 w 248715"/>
                    <a:gd name="connsiteY5" fmla="*/ 0 h 545496"/>
                    <a:gd name="connsiteX6" fmla="*/ 123825 w 248715"/>
                    <a:gd name="connsiteY6" fmla="*/ 539782 h 5454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48715" h="545496">
                      <a:moveTo>
                        <a:pt x="123825" y="539782"/>
                      </a:moveTo>
                      <a:lnTo>
                        <a:pt x="119729" y="545497"/>
                      </a:lnTo>
                      <a:lnTo>
                        <a:pt x="0" y="545497"/>
                      </a:lnTo>
                      <a:lnTo>
                        <a:pt x="3238" y="539782"/>
                      </a:lnTo>
                      <a:cubicBezTo>
                        <a:pt x="22955" y="504158"/>
                        <a:pt x="81534" y="397478"/>
                        <a:pt x="135827" y="286893"/>
                      </a:cubicBezTo>
                      <a:cubicBezTo>
                        <a:pt x="194120" y="168021"/>
                        <a:pt x="247745" y="44672"/>
                        <a:pt x="243268" y="0"/>
                      </a:cubicBezTo>
                      <a:cubicBezTo>
                        <a:pt x="244602" y="10096"/>
                        <a:pt x="284988" y="317087"/>
                        <a:pt x="123825" y="539782"/>
                      </a:cubicBezTo>
                      <a:close/>
                    </a:path>
                  </a:pathLst>
                </a:custGeom>
                <a:solidFill>
                  <a:srgbClr val="F1F1F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" name="işľîḑê"/>
                <p:cNvSpPr/>
                <p:nvPr/>
              </p:nvSpPr>
              <p:spPr>
                <a:xfrm>
                  <a:off x="3108801" y="3640546"/>
                  <a:ext cx="4962524" cy="952500"/>
                </a:xfrm>
                <a:custGeom>
                  <a:avLst/>
                  <a:gdLst>
                    <a:gd name="connsiteX0" fmla="*/ 4962525 w 4962524"/>
                    <a:gd name="connsiteY0" fmla="*/ 952500 h 952500"/>
                    <a:gd name="connsiteX1" fmla="*/ 2495550 w 4962524"/>
                    <a:gd name="connsiteY1" fmla="*/ 819150 h 952500"/>
                    <a:gd name="connsiteX2" fmla="*/ 0 w 4962524"/>
                    <a:gd name="connsiteY2" fmla="*/ 952500 h 952500"/>
                    <a:gd name="connsiteX3" fmla="*/ 0 w 4962524"/>
                    <a:gd name="connsiteY3" fmla="*/ 0 h 952500"/>
                    <a:gd name="connsiteX4" fmla="*/ 4962525 w 4962524"/>
                    <a:gd name="connsiteY4" fmla="*/ 0 h 9525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62524" h="952500">
                      <a:moveTo>
                        <a:pt x="4962525" y="952500"/>
                      </a:moveTo>
                      <a:cubicBezTo>
                        <a:pt x="4067651" y="573310"/>
                        <a:pt x="3258121" y="587693"/>
                        <a:pt x="2495550" y="819150"/>
                      </a:cubicBezTo>
                      <a:cubicBezTo>
                        <a:pt x="1320546" y="613981"/>
                        <a:pt x="516064" y="645700"/>
                        <a:pt x="0" y="952500"/>
                      </a:cubicBezTo>
                      <a:lnTo>
                        <a:pt x="0" y="0"/>
                      </a:lnTo>
                      <a:lnTo>
                        <a:pt x="4962525" y="0"/>
                      </a:lnTo>
                      <a:close/>
                    </a:path>
                  </a:pathLst>
                </a:custGeom>
                <a:solidFill>
                  <a:srgbClr val="CBCBC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" name="ïš1îdê"/>
                <p:cNvSpPr/>
                <p:nvPr/>
              </p:nvSpPr>
              <p:spPr>
                <a:xfrm>
                  <a:off x="3104039" y="1247366"/>
                  <a:ext cx="4967287" cy="3083742"/>
                </a:xfrm>
                <a:custGeom>
                  <a:avLst/>
                  <a:gdLst>
                    <a:gd name="connsiteX0" fmla="*/ 4967288 w 4967287"/>
                    <a:gd name="connsiteY0" fmla="*/ 3083742 h 3083742"/>
                    <a:gd name="connsiteX1" fmla="*/ 2483644 w 4967287"/>
                    <a:gd name="connsiteY1" fmla="*/ 3083742 h 3083742"/>
                    <a:gd name="connsiteX2" fmla="*/ 0 w 4967287"/>
                    <a:gd name="connsiteY2" fmla="*/ 3083742 h 3083742"/>
                    <a:gd name="connsiteX3" fmla="*/ 0 w 4967287"/>
                    <a:gd name="connsiteY3" fmla="*/ 188142 h 3083742"/>
                    <a:gd name="connsiteX4" fmla="*/ 2483644 w 4967287"/>
                    <a:gd name="connsiteY4" fmla="*/ 188142 h 3083742"/>
                    <a:gd name="connsiteX5" fmla="*/ 4967288 w 4967287"/>
                    <a:gd name="connsiteY5" fmla="*/ 188142 h 30837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967287" h="3083742">
                      <a:moveTo>
                        <a:pt x="4967288" y="3083742"/>
                      </a:moveTo>
                      <a:cubicBezTo>
                        <a:pt x="4142804" y="2710172"/>
                        <a:pt x="3319462" y="2686074"/>
                        <a:pt x="2483644" y="3083742"/>
                      </a:cubicBezTo>
                      <a:cubicBezTo>
                        <a:pt x="1627537" y="2837235"/>
                        <a:pt x="799909" y="2839807"/>
                        <a:pt x="0" y="3083742"/>
                      </a:cubicBezTo>
                      <a:lnTo>
                        <a:pt x="0" y="188142"/>
                      </a:lnTo>
                      <a:cubicBezTo>
                        <a:pt x="850487" y="-65699"/>
                        <a:pt x="1677829" y="-59508"/>
                        <a:pt x="2483644" y="188142"/>
                      </a:cubicBezTo>
                      <a:cubicBezTo>
                        <a:pt x="3334798" y="-58746"/>
                        <a:pt x="4163378" y="-66651"/>
                        <a:pt x="4967288" y="188142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" name="íSlíḓé"/>
                <p:cNvSpPr/>
                <p:nvPr/>
              </p:nvSpPr>
              <p:spPr>
                <a:xfrm>
                  <a:off x="3299682" y="1539359"/>
                  <a:ext cx="2029206" cy="255528"/>
                </a:xfrm>
                <a:custGeom>
                  <a:avLst/>
                  <a:gdLst>
                    <a:gd name="connsiteX0" fmla="*/ 27718 w 2029206"/>
                    <a:gd name="connsiteY0" fmla="*/ 255528 h 255528"/>
                    <a:gd name="connsiteX1" fmla="*/ 0 w 2029206"/>
                    <a:gd name="connsiteY1" fmla="*/ 184281 h 255528"/>
                    <a:gd name="connsiteX2" fmla="*/ 651701 w 2029206"/>
                    <a:gd name="connsiteY2" fmla="*/ 28452 h 255528"/>
                    <a:gd name="connsiteX3" fmla="*/ 2029206 w 2029206"/>
                    <a:gd name="connsiteY3" fmla="*/ 184757 h 255528"/>
                    <a:gd name="connsiteX4" fmla="*/ 1999393 w 2029206"/>
                    <a:gd name="connsiteY4" fmla="*/ 254957 h 255528"/>
                    <a:gd name="connsiteX5" fmla="*/ 663988 w 2029206"/>
                    <a:gd name="connsiteY5" fmla="*/ 103890 h 255528"/>
                    <a:gd name="connsiteX6" fmla="*/ 27718 w 2029206"/>
                    <a:gd name="connsiteY6" fmla="*/ 255528 h 2555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029206" h="255528">
                      <a:moveTo>
                        <a:pt x="27718" y="255528"/>
                      </a:moveTo>
                      <a:lnTo>
                        <a:pt x="0" y="184281"/>
                      </a:lnTo>
                      <a:cubicBezTo>
                        <a:pt x="10858" y="180090"/>
                        <a:pt x="270605" y="79506"/>
                        <a:pt x="651701" y="28452"/>
                      </a:cubicBezTo>
                      <a:cubicBezTo>
                        <a:pt x="1004126" y="-19173"/>
                        <a:pt x="1529144" y="-30222"/>
                        <a:pt x="2029206" y="184757"/>
                      </a:cubicBezTo>
                      <a:lnTo>
                        <a:pt x="1999393" y="254957"/>
                      </a:lnTo>
                      <a:cubicBezTo>
                        <a:pt x="1515809" y="47216"/>
                        <a:pt x="1006316" y="58170"/>
                        <a:pt x="663988" y="103890"/>
                      </a:cubicBezTo>
                      <a:cubicBezTo>
                        <a:pt x="291370" y="153706"/>
                        <a:pt x="30290" y="254480"/>
                        <a:pt x="27718" y="25552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" name="iš1íḑé"/>
                <p:cNvSpPr/>
                <p:nvPr/>
              </p:nvSpPr>
              <p:spPr>
                <a:xfrm>
                  <a:off x="3299682" y="1806059"/>
                  <a:ext cx="2029206" cy="255528"/>
                </a:xfrm>
                <a:custGeom>
                  <a:avLst/>
                  <a:gdLst>
                    <a:gd name="connsiteX0" fmla="*/ 27718 w 2029206"/>
                    <a:gd name="connsiteY0" fmla="*/ 255528 h 255528"/>
                    <a:gd name="connsiteX1" fmla="*/ 0 w 2029206"/>
                    <a:gd name="connsiteY1" fmla="*/ 184281 h 255528"/>
                    <a:gd name="connsiteX2" fmla="*/ 651701 w 2029206"/>
                    <a:gd name="connsiteY2" fmla="*/ 28452 h 255528"/>
                    <a:gd name="connsiteX3" fmla="*/ 2029206 w 2029206"/>
                    <a:gd name="connsiteY3" fmla="*/ 184757 h 255528"/>
                    <a:gd name="connsiteX4" fmla="*/ 1999393 w 2029206"/>
                    <a:gd name="connsiteY4" fmla="*/ 254957 h 255528"/>
                    <a:gd name="connsiteX5" fmla="*/ 663988 w 2029206"/>
                    <a:gd name="connsiteY5" fmla="*/ 103890 h 255528"/>
                    <a:gd name="connsiteX6" fmla="*/ 27718 w 2029206"/>
                    <a:gd name="connsiteY6" fmla="*/ 255528 h 2555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029206" h="255528">
                      <a:moveTo>
                        <a:pt x="27718" y="255528"/>
                      </a:moveTo>
                      <a:lnTo>
                        <a:pt x="0" y="184281"/>
                      </a:lnTo>
                      <a:cubicBezTo>
                        <a:pt x="10858" y="180090"/>
                        <a:pt x="270605" y="79506"/>
                        <a:pt x="651701" y="28452"/>
                      </a:cubicBezTo>
                      <a:cubicBezTo>
                        <a:pt x="1004126" y="-19173"/>
                        <a:pt x="1529144" y="-30222"/>
                        <a:pt x="2029206" y="184757"/>
                      </a:cubicBezTo>
                      <a:lnTo>
                        <a:pt x="1999393" y="254957"/>
                      </a:lnTo>
                      <a:cubicBezTo>
                        <a:pt x="1515809" y="47216"/>
                        <a:pt x="1006316" y="58075"/>
                        <a:pt x="663988" y="103890"/>
                      </a:cubicBezTo>
                      <a:cubicBezTo>
                        <a:pt x="291370" y="153706"/>
                        <a:pt x="30290" y="254480"/>
                        <a:pt x="27718" y="25552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" name="ïṣļíḍê"/>
                <p:cNvSpPr/>
                <p:nvPr/>
              </p:nvSpPr>
              <p:spPr>
                <a:xfrm>
                  <a:off x="3299682" y="2072758"/>
                  <a:ext cx="2029206" cy="255528"/>
                </a:xfrm>
                <a:custGeom>
                  <a:avLst/>
                  <a:gdLst>
                    <a:gd name="connsiteX0" fmla="*/ 27718 w 2029206"/>
                    <a:gd name="connsiteY0" fmla="*/ 255528 h 255528"/>
                    <a:gd name="connsiteX1" fmla="*/ 0 w 2029206"/>
                    <a:gd name="connsiteY1" fmla="*/ 184281 h 255528"/>
                    <a:gd name="connsiteX2" fmla="*/ 651701 w 2029206"/>
                    <a:gd name="connsiteY2" fmla="*/ 28452 h 255528"/>
                    <a:gd name="connsiteX3" fmla="*/ 2029206 w 2029206"/>
                    <a:gd name="connsiteY3" fmla="*/ 184757 h 255528"/>
                    <a:gd name="connsiteX4" fmla="*/ 1999393 w 2029206"/>
                    <a:gd name="connsiteY4" fmla="*/ 254957 h 255528"/>
                    <a:gd name="connsiteX5" fmla="*/ 663988 w 2029206"/>
                    <a:gd name="connsiteY5" fmla="*/ 103890 h 255528"/>
                    <a:gd name="connsiteX6" fmla="*/ 27718 w 2029206"/>
                    <a:gd name="connsiteY6" fmla="*/ 255528 h 2555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029206" h="255528">
                      <a:moveTo>
                        <a:pt x="27718" y="255528"/>
                      </a:moveTo>
                      <a:lnTo>
                        <a:pt x="0" y="184281"/>
                      </a:lnTo>
                      <a:cubicBezTo>
                        <a:pt x="10858" y="180090"/>
                        <a:pt x="270605" y="79506"/>
                        <a:pt x="651701" y="28452"/>
                      </a:cubicBezTo>
                      <a:cubicBezTo>
                        <a:pt x="1004126" y="-19173"/>
                        <a:pt x="1529144" y="-30222"/>
                        <a:pt x="2029206" y="184757"/>
                      </a:cubicBezTo>
                      <a:lnTo>
                        <a:pt x="1999393" y="254957"/>
                      </a:lnTo>
                      <a:cubicBezTo>
                        <a:pt x="1515809" y="47216"/>
                        <a:pt x="1006316" y="58075"/>
                        <a:pt x="663988" y="103890"/>
                      </a:cubicBezTo>
                      <a:cubicBezTo>
                        <a:pt x="291370" y="153706"/>
                        <a:pt x="30290" y="254480"/>
                        <a:pt x="27718" y="25552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6" name="í$ḷïḓé"/>
                <p:cNvSpPr/>
                <p:nvPr/>
              </p:nvSpPr>
              <p:spPr>
                <a:xfrm>
                  <a:off x="3299682" y="2339458"/>
                  <a:ext cx="2029206" cy="255528"/>
                </a:xfrm>
                <a:custGeom>
                  <a:avLst/>
                  <a:gdLst>
                    <a:gd name="connsiteX0" fmla="*/ 27718 w 2029206"/>
                    <a:gd name="connsiteY0" fmla="*/ 255528 h 255528"/>
                    <a:gd name="connsiteX1" fmla="*/ 0 w 2029206"/>
                    <a:gd name="connsiteY1" fmla="*/ 184281 h 255528"/>
                    <a:gd name="connsiteX2" fmla="*/ 651701 w 2029206"/>
                    <a:gd name="connsiteY2" fmla="*/ 28452 h 255528"/>
                    <a:gd name="connsiteX3" fmla="*/ 2029206 w 2029206"/>
                    <a:gd name="connsiteY3" fmla="*/ 184757 h 255528"/>
                    <a:gd name="connsiteX4" fmla="*/ 1999393 w 2029206"/>
                    <a:gd name="connsiteY4" fmla="*/ 254957 h 255528"/>
                    <a:gd name="connsiteX5" fmla="*/ 664274 w 2029206"/>
                    <a:gd name="connsiteY5" fmla="*/ 103890 h 255528"/>
                    <a:gd name="connsiteX6" fmla="*/ 27718 w 2029206"/>
                    <a:gd name="connsiteY6" fmla="*/ 255528 h 2555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029206" h="255528">
                      <a:moveTo>
                        <a:pt x="27718" y="255528"/>
                      </a:moveTo>
                      <a:lnTo>
                        <a:pt x="0" y="184281"/>
                      </a:lnTo>
                      <a:cubicBezTo>
                        <a:pt x="10858" y="180090"/>
                        <a:pt x="270605" y="79506"/>
                        <a:pt x="651701" y="28452"/>
                      </a:cubicBezTo>
                      <a:cubicBezTo>
                        <a:pt x="1004126" y="-19173"/>
                        <a:pt x="1529144" y="-30222"/>
                        <a:pt x="2029206" y="184757"/>
                      </a:cubicBezTo>
                      <a:lnTo>
                        <a:pt x="1999393" y="254957"/>
                      </a:lnTo>
                      <a:cubicBezTo>
                        <a:pt x="1516094" y="47216"/>
                        <a:pt x="1006602" y="58075"/>
                        <a:pt x="664274" y="103890"/>
                      </a:cubicBezTo>
                      <a:cubicBezTo>
                        <a:pt x="291370" y="153706"/>
                        <a:pt x="30290" y="254480"/>
                        <a:pt x="27718" y="25552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8" name="ïSḻíḋé"/>
                <p:cNvSpPr/>
                <p:nvPr/>
              </p:nvSpPr>
              <p:spPr>
                <a:xfrm>
                  <a:off x="3299682" y="2606158"/>
                  <a:ext cx="2029206" cy="255528"/>
                </a:xfrm>
                <a:custGeom>
                  <a:avLst/>
                  <a:gdLst>
                    <a:gd name="connsiteX0" fmla="*/ 27718 w 2029206"/>
                    <a:gd name="connsiteY0" fmla="*/ 255528 h 255528"/>
                    <a:gd name="connsiteX1" fmla="*/ 0 w 2029206"/>
                    <a:gd name="connsiteY1" fmla="*/ 184281 h 255528"/>
                    <a:gd name="connsiteX2" fmla="*/ 651701 w 2029206"/>
                    <a:gd name="connsiteY2" fmla="*/ 28452 h 255528"/>
                    <a:gd name="connsiteX3" fmla="*/ 2029206 w 2029206"/>
                    <a:gd name="connsiteY3" fmla="*/ 184757 h 255528"/>
                    <a:gd name="connsiteX4" fmla="*/ 1999393 w 2029206"/>
                    <a:gd name="connsiteY4" fmla="*/ 254957 h 255528"/>
                    <a:gd name="connsiteX5" fmla="*/ 664274 w 2029206"/>
                    <a:gd name="connsiteY5" fmla="*/ 103890 h 255528"/>
                    <a:gd name="connsiteX6" fmla="*/ 27718 w 2029206"/>
                    <a:gd name="connsiteY6" fmla="*/ 255528 h 2555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029206" h="255528">
                      <a:moveTo>
                        <a:pt x="27718" y="255528"/>
                      </a:moveTo>
                      <a:lnTo>
                        <a:pt x="0" y="184281"/>
                      </a:lnTo>
                      <a:cubicBezTo>
                        <a:pt x="10858" y="180090"/>
                        <a:pt x="270605" y="79506"/>
                        <a:pt x="651701" y="28452"/>
                      </a:cubicBezTo>
                      <a:cubicBezTo>
                        <a:pt x="1004126" y="-19173"/>
                        <a:pt x="1529144" y="-30222"/>
                        <a:pt x="2029206" y="184757"/>
                      </a:cubicBezTo>
                      <a:lnTo>
                        <a:pt x="1999393" y="254957"/>
                      </a:lnTo>
                      <a:cubicBezTo>
                        <a:pt x="1516094" y="47216"/>
                        <a:pt x="1006602" y="58075"/>
                        <a:pt x="664274" y="103890"/>
                      </a:cubicBezTo>
                      <a:cubicBezTo>
                        <a:pt x="291370" y="153706"/>
                        <a:pt x="30290" y="254480"/>
                        <a:pt x="27718" y="25552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" name="iṧḷíḑè"/>
                <p:cNvSpPr/>
                <p:nvPr/>
              </p:nvSpPr>
              <p:spPr>
                <a:xfrm>
                  <a:off x="3299682" y="2872858"/>
                  <a:ext cx="2029206" cy="255528"/>
                </a:xfrm>
                <a:custGeom>
                  <a:avLst/>
                  <a:gdLst>
                    <a:gd name="connsiteX0" fmla="*/ 27718 w 2029206"/>
                    <a:gd name="connsiteY0" fmla="*/ 255528 h 255528"/>
                    <a:gd name="connsiteX1" fmla="*/ 0 w 2029206"/>
                    <a:gd name="connsiteY1" fmla="*/ 184281 h 255528"/>
                    <a:gd name="connsiteX2" fmla="*/ 651701 w 2029206"/>
                    <a:gd name="connsiteY2" fmla="*/ 28452 h 255528"/>
                    <a:gd name="connsiteX3" fmla="*/ 2029206 w 2029206"/>
                    <a:gd name="connsiteY3" fmla="*/ 184757 h 255528"/>
                    <a:gd name="connsiteX4" fmla="*/ 1999393 w 2029206"/>
                    <a:gd name="connsiteY4" fmla="*/ 254957 h 255528"/>
                    <a:gd name="connsiteX5" fmla="*/ 664274 w 2029206"/>
                    <a:gd name="connsiteY5" fmla="*/ 103890 h 255528"/>
                    <a:gd name="connsiteX6" fmla="*/ 27718 w 2029206"/>
                    <a:gd name="connsiteY6" fmla="*/ 255528 h 2555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029206" h="255528">
                      <a:moveTo>
                        <a:pt x="27718" y="255528"/>
                      </a:moveTo>
                      <a:lnTo>
                        <a:pt x="0" y="184281"/>
                      </a:lnTo>
                      <a:cubicBezTo>
                        <a:pt x="10858" y="180090"/>
                        <a:pt x="270605" y="79506"/>
                        <a:pt x="651701" y="28452"/>
                      </a:cubicBezTo>
                      <a:cubicBezTo>
                        <a:pt x="1004126" y="-19173"/>
                        <a:pt x="1529144" y="-30222"/>
                        <a:pt x="2029206" y="184757"/>
                      </a:cubicBezTo>
                      <a:lnTo>
                        <a:pt x="1999393" y="254957"/>
                      </a:lnTo>
                      <a:cubicBezTo>
                        <a:pt x="1516094" y="47216"/>
                        <a:pt x="1006602" y="58170"/>
                        <a:pt x="664274" y="103890"/>
                      </a:cubicBezTo>
                      <a:cubicBezTo>
                        <a:pt x="291370" y="153706"/>
                        <a:pt x="30290" y="254480"/>
                        <a:pt x="27718" y="25552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" name="îṣḻïďe"/>
                <p:cNvSpPr/>
                <p:nvPr/>
              </p:nvSpPr>
              <p:spPr>
                <a:xfrm>
                  <a:off x="5785707" y="3434833"/>
                  <a:ext cx="2029206" cy="255528"/>
                </a:xfrm>
                <a:custGeom>
                  <a:avLst/>
                  <a:gdLst>
                    <a:gd name="connsiteX0" fmla="*/ 27718 w 2029206"/>
                    <a:gd name="connsiteY0" fmla="*/ 255528 h 255528"/>
                    <a:gd name="connsiteX1" fmla="*/ 0 w 2029206"/>
                    <a:gd name="connsiteY1" fmla="*/ 184281 h 255528"/>
                    <a:gd name="connsiteX2" fmla="*/ 651701 w 2029206"/>
                    <a:gd name="connsiteY2" fmla="*/ 28452 h 255528"/>
                    <a:gd name="connsiteX3" fmla="*/ 2029206 w 2029206"/>
                    <a:gd name="connsiteY3" fmla="*/ 184757 h 255528"/>
                    <a:gd name="connsiteX4" fmla="*/ 1999393 w 2029206"/>
                    <a:gd name="connsiteY4" fmla="*/ 254957 h 255528"/>
                    <a:gd name="connsiteX5" fmla="*/ 664273 w 2029206"/>
                    <a:gd name="connsiteY5" fmla="*/ 103890 h 255528"/>
                    <a:gd name="connsiteX6" fmla="*/ 27718 w 2029206"/>
                    <a:gd name="connsiteY6" fmla="*/ 255528 h 2555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029206" h="255528">
                      <a:moveTo>
                        <a:pt x="27718" y="255528"/>
                      </a:moveTo>
                      <a:lnTo>
                        <a:pt x="0" y="184281"/>
                      </a:lnTo>
                      <a:cubicBezTo>
                        <a:pt x="10859" y="180090"/>
                        <a:pt x="270605" y="79506"/>
                        <a:pt x="651701" y="28452"/>
                      </a:cubicBezTo>
                      <a:cubicBezTo>
                        <a:pt x="1004126" y="-19173"/>
                        <a:pt x="1529144" y="-30222"/>
                        <a:pt x="2029206" y="184757"/>
                      </a:cubicBezTo>
                      <a:lnTo>
                        <a:pt x="1999393" y="254957"/>
                      </a:lnTo>
                      <a:cubicBezTo>
                        <a:pt x="1516094" y="47216"/>
                        <a:pt x="1006602" y="58170"/>
                        <a:pt x="664273" y="103890"/>
                      </a:cubicBezTo>
                      <a:cubicBezTo>
                        <a:pt x="291370" y="153706"/>
                        <a:pt x="30289" y="254480"/>
                        <a:pt x="27718" y="255528"/>
                      </a:cubicBezTo>
                      <a:close/>
                    </a:path>
                  </a:pathLst>
                </a:custGeom>
                <a:solidFill>
                  <a:srgbClr val="6370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1" name="išľïḓe"/>
                <p:cNvSpPr/>
                <p:nvPr/>
              </p:nvSpPr>
              <p:spPr>
                <a:xfrm>
                  <a:off x="5790088" y="1554798"/>
                  <a:ext cx="2057400" cy="1623691"/>
                </a:xfrm>
                <a:custGeom>
                  <a:avLst/>
                  <a:gdLst>
                    <a:gd name="connsiteX0" fmla="*/ 0 w 2057400"/>
                    <a:gd name="connsiteY0" fmla="*/ 1623691 h 1623691"/>
                    <a:gd name="connsiteX1" fmla="*/ 0 w 2057400"/>
                    <a:gd name="connsiteY1" fmla="*/ 167033 h 1623691"/>
                    <a:gd name="connsiteX2" fmla="*/ 26670 w 2057400"/>
                    <a:gd name="connsiteY2" fmla="*/ 158651 h 1623691"/>
                    <a:gd name="connsiteX3" fmla="*/ 2031016 w 2057400"/>
                    <a:gd name="connsiteY3" fmla="*/ 159318 h 1623691"/>
                    <a:gd name="connsiteX4" fmla="*/ 2057400 w 2057400"/>
                    <a:gd name="connsiteY4" fmla="*/ 167795 h 1623691"/>
                    <a:gd name="connsiteX5" fmla="*/ 2057400 w 2057400"/>
                    <a:gd name="connsiteY5" fmla="*/ 1621691 h 1623691"/>
                    <a:gd name="connsiteX6" fmla="*/ 2005775 w 2057400"/>
                    <a:gd name="connsiteY6" fmla="*/ 1602641 h 1623691"/>
                    <a:gd name="connsiteX7" fmla="*/ 53150 w 2057400"/>
                    <a:gd name="connsiteY7" fmla="*/ 1602165 h 1623691"/>
                    <a:gd name="connsiteX8" fmla="*/ 1005459 w 2057400"/>
                    <a:gd name="connsiteY8" fmla="*/ 1333655 h 1623691"/>
                    <a:gd name="connsiteX9" fmla="*/ 1981200 w 2057400"/>
                    <a:gd name="connsiteY9" fmla="*/ 1511963 h 1623691"/>
                    <a:gd name="connsiteX10" fmla="*/ 1981200 w 2057400"/>
                    <a:gd name="connsiteY10" fmla="*/ 222849 h 1623691"/>
                    <a:gd name="connsiteX11" fmla="*/ 76200 w 2057400"/>
                    <a:gd name="connsiteY11" fmla="*/ 222849 h 1623691"/>
                    <a:gd name="connsiteX12" fmla="*/ 76200 w 2057400"/>
                    <a:gd name="connsiteY12" fmla="*/ 1510248 h 1623691"/>
                    <a:gd name="connsiteX13" fmla="*/ 1005459 w 2057400"/>
                    <a:gd name="connsiteY13" fmla="*/ 1333655 h 1623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2057400" h="1623691">
                      <a:moveTo>
                        <a:pt x="0" y="1623691"/>
                      </a:moveTo>
                      <a:lnTo>
                        <a:pt x="0" y="167033"/>
                      </a:lnTo>
                      <a:lnTo>
                        <a:pt x="26670" y="158651"/>
                      </a:lnTo>
                      <a:cubicBezTo>
                        <a:pt x="704374" y="-52995"/>
                        <a:pt x="1378744" y="-52995"/>
                        <a:pt x="2031016" y="159318"/>
                      </a:cubicBezTo>
                      <a:lnTo>
                        <a:pt x="2057400" y="167795"/>
                      </a:lnTo>
                      <a:lnTo>
                        <a:pt x="2057400" y="1621691"/>
                      </a:lnTo>
                      <a:lnTo>
                        <a:pt x="2005775" y="1602641"/>
                      </a:lnTo>
                      <a:cubicBezTo>
                        <a:pt x="1327023" y="1346418"/>
                        <a:pt x="669798" y="1346323"/>
                        <a:pt x="53150" y="1602165"/>
                      </a:cubicBezTo>
                      <a:close/>
                      <a:moveTo>
                        <a:pt x="1005459" y="1333655"/>
                      </a:moveTo>
                      <a:cubicBezTo>
                        <a:pt x="1324480" y="1333655"/>
                        <a:pt x="1649730" y="1393091"/>
                        <a:pt x="1981200" y="1511963"/>
                      </a:cubicBezTo>
                      <a:lnTo>
                        <a:pt x="1981200" y="222849"/>
                      </a:lnTo>
                      <a:cubicBezTo>
                        <a:pt x="1360932" y="27301"/>
                        <a:pt x="720281" y="27396"/>
                        <a:pt x="76200" y="222849"/>
                      </a:cubicBezTo>
                      <a:lnTo>
                        <a:pt x="76200" y="1510248"/>
                      </a:lnTo>
                      <a:cubicBezTo>
                        <a:pt x="372142" y="1393653"/>
                        <a:pt x="687372" y="1333750"/>
                        <a:pt x="1005459" y="133365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2" name="íṩľídê"/>
                <p:cNvSpPr/>
                <p:nvPr/>
              </p:nvSpPr>
              <p:spPr>
                <a:xfrm>
                  <a:off x="7772812" y="2674360"/>
                  <a:ext cx="541876" cy="978186"/>
                </a:xfrm>
                <a:custGeom>
                  <a:avLst/>
                  <a:gdLst>
                    <a:gd name="connsiteX0" fmla="*/ 0 w 541876"/>
                    <a:gd name="connsiteY0" fmla="*/ 978187 h 978186"/>
                    <a:gd name="connsiteX1" fmla="*/ 9525 w 541876"/>
                    <a:gd name="connsiteY1" fmla="*/ 735776 h 978186"/>
                    <a:gd name="connsiteX2" fmla="*/ 352425 w 541876"/>
                    <a:gd name="connsiteY2" fmla="*/ 55024 h 978186"/>
                    <a:gd name="connsiteX3" fmla="*/ 397192 w 541876"/>
                    <a:gd name="connsiteY3" fmla="*/ 10542 h 978186"/>
                    <a:gd name="connsiteX4" fmla="*/ 531333 w 541876"/>
                    <a:gd name="connsiteY4" fmla="*/ 55386 h 978186"/>
                    <a:gd name="connsiteX5" fmla="*/ 536734 w 541876"/>
                    <a:gd name="connsiteY5" fmla="*/ 68454 h 978186"/>
                    <a:gd name="connsiteX6" fmla="*/ 541020 w 541876"/>
                    <a:gd name="connsiteY6" fmla="*/ 87504 h 978186"/>
                    <a:gd name="connsiteX7" fmla="*/ 531495 w 541876"/>
                    <a:gd name="connsiteY7" fmla="*/ 144654 h 978186"/>
                    <a:gd name="connsiteX8" fmla="*/ 188595 w 541876"/>
                    <a:gd name="connsiteY8" fmla="*/ 826263 h 9781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41876" h="978186">
                      <a:moveTo>
                        <a:pt x="0" y="978187"/>
                      </a:moveTo>
                      <a:lnTo>
                        <a:pt x="9525" y="735776"/>
                      </a:lnTo>
                      <a:lnTo>
                        <a:pt x="352425" y="55024"/>
                      </a:lnTo>
                      <a:cubicBezTo>
                        <a:pt x="362055" y="35679"/>
                        <a:pt x="377790" y="20048"/>
                        <a:pt x="397192" y="10542"/>
                      </a:cubicBezTo>
                      <a:cubicBezTo>
                        <a:pt x="446618" y="-14118"/>
                        <a:pt x="506673" y="5961"/>
                        <a:pt x="531333" y="55386"/>
                      </a:cubicBezTo>
                      <a:cubicBezTo>
                        <a:pt x="533438" y="59615"/>
                        <a:pt x="535248" y="63977"/>
                        <a:pt x="536734" y="68454"/>
                      </a:cubicBezTo>
                      <a:cubicBezTo>
                        <a:pt x="538706" y="74674"/>
                        <a:pt x="540134" y="81046"/>
                        <a:pt x="541020" y="87504"/>
                      </a:cubicBezTo>
                      <a:cubicBezTo>
                        <a:pt x="543610" y="107078"/>
                        <a:pt x="540296" y="126976"/>
                        <a:pt x="531495" y="144654"/>
                      </a:cubicBezTo>
                      <a:lnTo>
                        <a:pt x="188595" y="826263"/>
                      </a:lnTo>
                      <a:close/>
                    </a:path>
                  </a:pathLst>
                </a:custGeom>
                <a:solidFill>
                  <a:srgbClr val="6370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" name="iṣlîḍé"/>
                <p:cNvSpPr/>
                <p:nvPr/>
              </p:nvSpPr>
              <p:spPr>
                <a:xfrm>
                  <a:off x="7812627" y="2679188"/>
                  <a:ext cx="400050" cy="738949"/>
                </a:xfrm>
                <a:custGeom>
                  <a:avLst/>
                  <a:gdLst>
                    <a:gd name="connsiteX0" fmla="*/ 400050 w 400050"/>
                    <a:gd name="connsiteY0" fmla="*/ 0 h 738949"/>
                    <a:gd name="connsiteX1" fmla="*/ 28575 w 400050"/>
                    <a:gd name="connsiteY1" fmla="*/ 738949 h 738949"/>
                    <a:gd name="connsiteX2" fmla="*/ 0 w 400050"/>
                    <a:gd name="connsiteY2" fmla="*/ 724662 h 738949"/>
                    <a:gd name="connsiteX3" fmla="*/ 359473 w 400050"/>
                    <a:gd name="connsiteY3" fmla="*/ 10287 h 738949"/>
                    <a:gd name="connsiteX4" fmla="*/ 400050 w 400050"/>
                    <a:gd name="connsiteY4" fmla="*/ 0 h 7389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0050" h="738949">
                      <a:moveTo>
                        <a:pt x="400050" y="0"/>
                      </a:moveTo>
                      <a:lnTo>
                        <a:pt x="28575" y="738949"/>
                      </a:lnTo>
                      <a:lnTo>
                        <a:pt x="0" y="724662"/>
                      </a:lnTo>
                      <a:lnTo>
                        <a:pt x="359473" y="10287"/>
                      </a:lnTo>
                      <a:cubicBezTo>
                        <a:pt x="372046" y="3839"/>
                        <a:pt x="385924" y="324"/>
                        <a:pt x="400050" y="0"/>
                      </a:cubicBezTo>
                      <a:close/>
                    </a:path>
                  </a:pathLst>
                </a:custGeom>
                <a:solidFill>
                  <a:srgbClr val="3F3D5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4" name="îšḷíḋê"/>
                <p:cNvSpPr/>
                <p:nvPr/>
              </p:nvSpPr>
              <p:spPr>
                <a:xfrm>
                  <a:off x="7922926" y="2722050"/>
                  <a:ext cx="386048" cy="751712"/>
                </a:xfrm>
                <a:custGeom>
                  <a:avLst/>
                  <a:gdLst>
                    <a:gd name="connsiteX0" fmla="*/ 386049 w 386048"/>
                    <a:gd name="connsiteY0" fmla="*/ 40862 h 751712"/>
                    <a:gd name="connsiteX1" fmla="*/ 28575 w 386048"/>
                    <a:gd name="connsiteY1" fmla="*/ 751713 h 751712"/>
                    <a:gd name="connsiteX2" fmla="*/ 0 w 386048"/>
                    <a:gd name="connsiteY2" fmla="*/ 737426 h 751712"/>
                    <a:gd name="connsiteX3" fmla="*/ 370904 w 386048"/>
                    <a:gd name="connsiteY3" fmla="*/ 0 h 751712"/>
                    <a:gd name="connsiteX4" fmla="*/ 381667 w 386048"/>
                    <a:gd name="connsiteY4" fmla="*/ 22384 h 751712"/>
                    <a:gd name="connsiteX5" fmla="*/ 386049 w 386048"/>
                    <a:gd name="connsiteY5" fmla="*/ 40862 h 7517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86048" h="751712">
                      <a:moveTo>
                        <a:pt x="386049" y="40862"/>
                      </a:moveTo>
                      <a:lnTo>
                        <a:pt x="28575" y="751713"/>
                      </a:lnTo>
                      <a:lnTo>
                        <a:pt x="0" y="737426"/>
                      </a:lnTo>
                      <a:lnTo>
                        <a:pt x="370904" y="0"/>
                      </a:lnTo>
                      <a:cubicBezTo>
                        <a:pt x="375438" y="6972"/>
                        <a:pt x="379057" y="14487"/>
                        <a:pt x="381667" y="22384"/>
                      </a:cubicBezTo>
                      <a:cubicBezTo>
                        <a:pt x="383743" y="28384"/>
                        <a:pt x="385210" y="34576"/>
                        <a:pt x="386049" y="40862"/>
                      </a:cubicBezTo>
                      <a:close/>
                    </a:path>
                  </a:pathLst>
                </a:custGeom>
                <a:solidFill>
                  <a:srgbClr val="3F3D5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5" name="îṥ1íḓê"/>
                <p:cNvSpPr/>
                <p:nvPr/>
              </p:nvSpPr>
              <p:spPr>
                <a:xfrm>
                  <a:off x="7869205" y="2684332"/>
                  <a:ext cx="404336" cy="762285"/>
                </a:xfrm>
                <a:custGeom>
                  <a:avLst/>
                  <a:gdLst>
                    <a:gd name="connsiteX0" fmla="*/ 404336 w 404336"/>
                    <a:gd name="connsiteY0" fmla="*/ 15145 h 762285"/>
                    <a:gd name="connsiteX1" fmla="*/ 28575 w 404336"/>
                    <a:gd name="connsiteY1" fmla="*/ 762286 h 762285"/>
                    <a:gd name="connsiteX2" fmla="*/ 0 w 404336"/>
                    <a:gd name="connsiteY2" fmla="*/ 748093 h 762285"/>
                    <a:gd name="connsiteX3" fmla="*/ 376238 w 404336"/>
                    <a:gd name="connsiteY3" fmla="*/ 0 h 762285"/>
                    <a:gd name="connsiteX4" fmla="*/ 387953 w 404336"/>
                    <a:gd name="connsiteY4" fmla="*/ 4953 h 762285"/>
                    <a:gd name="connsiteX5" fmla="*/ 404336 w 404336"/>
                    <a:gd name="connsiteY5" fmla="*/ 15145 h 7622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04336" h="762285">
                      <a:moveTo>
                        <a:pt x="404336" y="15145"/>
                      </a:moveTo>
                      <a:lnTo>
                        <a:pt x="28575" y="762286"/>
                      </a:lnTo>
                      <a:lnTo>
                        <a:pt x="0" y="748093"/>
                      </a:lnTo>
                      <a:lnTo>
                        <a:pt x="376238" y="0"/>
                      </a:lnTo>
                      <a:cubicBezTo>
                        <a:pt x="380257" y="1372"/>
                        <a:pt x="384172" y="3029"/>
                        <a:pt x="387953" y="4953"/>
                      </a:cubicBezTo>
                      <a:cubicBezTo>
                        <a:pt x="393735" y="7810"/>
                        <a:pt x="399221" y="11220"/>
                        <a:pt x="404336" y="15145"/>
                      </a:cubicBezTo>
                      <a:close/>
                    </a:path>
                  </a:pathLst>
                </a:custGeom>
                <a:solidFill>
                  <a:srgbClr val="3F3D5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6" name="ïṩlîḓê"/>
                <p:cNvSpPr/>
                <p:nvPr/>
              </p:nvSpPr>
              <p:spPr>
                <a:xfrm>
                  <a:off x="7777765" y="3561966"/>
                  <a:ext cx="38100" cy="80295"/>
                </a:xfrm>
                <a:custGeom>
                  <a:avLst/>
                  <a:gdLst>
                    <a:gd name="connsiteX0" fmla="*/ 38100 w 38100"/>
                    <a:gd name="connsiteY0" fmla="*/ 49911 h 80295"/>
                    <a:gd name="connsiteX1" fmla="*/ 0 w 38100"/>
                    <a:gd name="connsiteY1" fmla="*/ 80296 h 80295"/>
                    <a:gd name="connsiteX2" fmla="*/ 3143 w 38100"/>
                    <a:gd name="connsiteY2" fmla="*/ 0 h 80295"/>
                    <a:gd name="connsiteX3" fmla="*/ 38100 w 38100"/>
                    <a:gd name="connsiteY3" fmla="*/ 49911 h 802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8100" h="80295">
                      <a:moveTo>
                        <a:pt x="38100" y="49911"/>
                      </a:moveTo>
                      <a:lnTo>
                        <a:pt x="0" y="80296"/>
                      </a:lnTo>
                      <a:lnTo>
                        <a:pt x="3143" y="0"/>
                      </a:lnTo>
                      <a:cubicBezTo>
                        <a:pt x="16859" y="4572"/>
                        <a:pt x="30480" y="24098"/>
                        <a:pt x="38100" y="49911"/>
                      </a:cubicBezTo>
                      <a:close/>
                    </a:path>
                  </a:pathLst>
                </a:custGeom>
                <a:solidFill>
                  <a:srgbClr val="3F3D5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27" name="íslïdé"/>
                <p:cNvGrpSpPr/>
                <p:nvPr/>
              </p:nvGrpSpPr>
              <p:grpSpPr>
                <a:xfrm>
                  <a:off x="7858263" y="2588975"/>
                  <a:ext cx="1437340" cy="3426248"/>
                  <a:chOff x="7864613" y="2384572"/>
                  <a:chExt cx="1437340" cy="3426248"/>
                </a:xfrm>
              </p:grpSpPr>
              <p:sp>
                <p:nvSpPr>
                  <p:cNvPr id="30" name="íṧļïḋê"/>
                  <p:cNvSpPr/>
                  <p:nvPr/>
                </p:nvSpPr>
                <p:spPr>
                  <a:xfrm>
                    <a:off x="8782050" y="3432619"/>
                    <a:ext cx="224440" cy="726115"/>
                  </a:xfrm>
                  <a:custGeom>
                    <a:avLst/>
                    <a:gdLst>
                      <a:gd name="connsiteX0" fmla="*/ 213741 w 224440"/>
                      <a:gd name="connsiteY0" fmla="*/ 688848 h 726115"/>
                      <a:gd name="connsiteX1" fmla="*/ 104690 w 224440"/>
                      <a:gd name="connsiteY1" fmla="*/ 714108 h 726115"/>
                      <a:gd name="connsiteX2" fmla="*/ 76200 w 224440"/>
                      <a:gd name="connsiteY2" fmla="*/ 610743 h 726115"/>
                      <a:gd name="connsiteX3" fmla="*/ 76200 w 224440"/>
                      <a:gd name="connsiteY3" fmla="*/ 610743 h 726115"/>
                      <a:gd name="connsiteX4" fmla="*/ 76771 w 224440"/>
                      <a:gd name="connsiteY4" fmla="*/ 609886 h 726115"/>
                      <a:gd name="connsiteX5" fmla="*/ 84201 w 224440"/>
                      <a:gd name="connsiteY5" fmla="*/ 599313 h 726115"/>
                      <a:gd name="connsiteX6" fmla="*/ 17526 w 224440"/>
                      <a:gd name="connsiteY6" fmla="*/ 124968 h 726115"/>
                      <a:gd name="connsiteX7" fmla="*/ 15526 w 224440"/>
                      <a:gd name="connsiteY7" fmla="*/ 110776 h 726115"/>
                      <a:gd name="connsiteX8" fmla="*/ 2000 w 224440"/>
                      <a:gd name="connsiteY8" fmla="*/ 14002 h 726115"/>
                      <a:gd name="connsiteX9" fmla="*/ 0 w 224440"/>
                      <a:gd name="connsiteY9" fmla="*/ 0 h 726115"/>
                      <a:gd name="connsiteX10" fmla="*/ 7430 w 224440"/>
                      <a:gd name="connsiteY10" fmla="*/ 0 h 726115"/>
                      <a:gd name="connsiteX11" fmla="*/ 136303 w 224440"/>
                      <a:gd name="connsiteY11" fmla="*/ 5905 h 726115"/>
                      <a:gd name="connsiteX12" fmla="*/ 170879 w 224440"/>
                      <a:gd name="connsiteY12" fmla="*/ 7429 h 726115"/>
                      <a:gd name="connsiteX13" fmla="*/ 175260 w 224440"/>
                      <a:gd name="connsiteY13" fmla="*/ 95726 h 726115"/>
                      <a:gd name="connsiteX14" fmla="*/ 200025 w 224440"/>
                      <a:gd name="connsiteY14" fmla="*/ 591693 h 726115"/>
                      <a:gd name="connsiteX15" fmla="*/ 213741 w 224440"/>
                      <a:gd name="connsiteY15" fmla="*/ 688467 h 7261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224440" h="726115">
                        <a:moveTo>
                          <a:pt x="213741" y="688848"/>
                        </a:moveTo>
                        <a:cubicBezTo>
                          <a:pt x="190605" y="725938"/>
                          <a:pt x="141780" y="737245"/>
                          <a:pt x="104690" y="714108"/>
                        </a:cubicBezTo>
                        <a:cubicBezTo>
                          <a:pt x="69752" y="692315"/>
                          <a:pt x="57359" y="647367"/>
                          <a:pt x="76200" y="610743"/>
                        </a:cubicBezTo>
                        <a:lnTo>
                          <a:pt x="76200" y="610743"/>
                        </a:lnTo>
                        <a:lnTo>
                          <a:pt x="76771" y="609886"/>
                        </a:lnTo>
                        <a:cubicBezTo>
                          <a:pt x="78962" y="606171"/>
                          <a:pt x="81449" y="602637"/>
                          <a:pt x="84201" y="599313"/>
                        </a:cubicBezTo>
                        <a:lnTo>
                          <a:pt x="17526" y="124968"/>
                        </a:lnTo>
                        <a:lnTo>
                          <a:pt x="15526" y="110776"/>
                        </a:lnTo>
                        <a:lnTo>
                          <a:pt x="2000" y="14002"/>
                        </a:lnTo>
                        <a:lnTo>
                          <a:pt x="0" y="0"/>
                        </a:lnTo>
                        <a:lnTo>
                          <a:pt x="7430" y="0"/>
                        </a:lnTo>
                        <a:lnTo>
                          <a:pt x="136303" y="5905"/>
                        </a:lnTo>
                        <a:lnTo>
                          <a:pt x="170879" y="7429"/>
                        </a:lnTo>
                        <a:lnTo>
                          <a:pt x="175260" y="95726"/>
                        </a:lnTo>
                        <a:lnTo>
                          <a:pt x="200025" y="591693"/>
                        </a:lnTo>
                        <a:cubicBezTo>
                          <a:pt x="226409" y="616906"/>
                          <a:pt x="232086" y="656920"/>
                          <a:pt x="213741" y="688467"/>
                        </a:cubicBezTo>
                        <a:close/>
                      </a:path>
                    </a:pathLst>
                  </a:custGeom>
                  <a:solidFill>
                    <a:srgbClr val="FFB8B8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1" name="ïşlíḋe"/>
                  <p:cNvSpPr/>
                  <p:nvPr/>
                </p:nvSpPr>
                <p:spPr>
                  <a:xfrm>
                    <a:off x="8712684" y="3043498"/>
                    <a:ext cx="278572" cy="503706"/>
                  </a:xfrm>
                  <a:custGeom>
                    <a:avLst/>
                    <a:gdLst>
                      <a:gd name="connsiteX0" fmla="*/ 85558 w 278572"/>
                      <a:gd name="connsiteY0" fmla="*/ 503706 h 503706"/>
                      <a:gd name="connsiteX1" fmla="*/ 249293 w 278572"/>
                      <a:gd name="connsiteY1" fmla="*/ 488656 h 503706"/>
                      <a:gd name="connsiteX2" fmla="*/ 278440 w 278572"/>
                      <a:gd name="connsiteY2" fmla="*/ 453700 h 503706"/>
                      <a:gd name="connsiteX3" fmla="*/ 248150 w 278572"/>
                      <a:gd name="connsiteY3" fmla="*/ 113276 h 503706"/>
                      <a:gd name="connsiteX4" fmla="*/ 113276 w 278572"/>
                      <a:gd name="connsiteY4" fmla="*/ 500 h 503706"/>
                      <a:gd name="connsiteX5" fmla="*/ 500 w 278572"/>
                      <a:gd name="connsiteY5" fmla="*/ 135374 h 503706"/>
                      <a:gd name="connsiteX6" fmla="*/ 1262 w 278572"/>
                      <a:gd name="connsiteY6" fmla="*/ 142327 h 503706"/>
                      <a:gd name="connsiteX7" fmla="*/ 50792 w 278572"/>
                      <a:gd name="connsiteY7" fmla="*/ 475988 h 503706"/>
                      <a:gd name="connsiteX8" fmla="*/ 82606 w 278572"/>
                      <a:gd name="connsiteY8" fmla="*/ 503611 h 5037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78572" h="503706">
                        <a:moveTo>
                          <a:pt x="85558" y="503706"/>
                        </a:moveTo>
                        <a:lnTo>
                          <a:pt x="249293" y="488656"/>
                        </a:lnTo>
                        <a:cubicBezTo>
                          <a:pt x="266990" y="487047"/>
                          <a:pt x="280040" y="471397"/>
                          <a:pt x="278440" y="453700"/>
                        </a:cubicBezTo>
                        <a:lnTo>
                          <a:pt x="248150" y="113276"/>
                        </a:lnTo>
                        <a:cubicBezTo>
                          <a:pt x="242045" y="44887"/>
                          <a:pt x="181665" y="-5605"/>
                          <a:pt x="113276" y="500"/>
                        </a:cubicBezTo>
                        <a:cubicBezTo>
                          <a:pt x="44886" y="6606"/>
                          <a:pt x="-5605" y="66985"/>
                          <a:pt x="500" y="135374"/>
                        </a:cubicBezTo>
                        <a:cubicBezTo>
                          <a:pt x="500" y="137660"/>
                          <a:pt x="976" y="140041"/>
                          <a:pt x="1262" y="142327"/>
                        </a:cubicBezTo>
                        <a:lnTo>
                          <a:pt x="50792" y="475988"/>
                        </a:lnTo>
                        <a:cubicBezTo>
                          <a:pt x="53135" y="491781"/>
                          <a:pt x="66642" y="503506"/>
                          <a:pt x="82606" y="503611"/>
                        </a:cubicBezTo>
                        <a:close/>
                      </a:path>
                    </a:pathLst>
                  </a:custGeom>
                  <a:solidFill>
                    <a:srgbClr val="CBCBCB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2" name="íṣļîde"/>
                  <p:cNvSpPr/>
                  <p:nvPr/>
                </p:nvSpPr>
                <p:spPr>
                  <a:xfrm>
                    <a:off x="8371712" y="2977612"/>
                    <a:ext cx="563582" cy="599024"/>
                  </a:xfrm>
                  <a:custGeom>
                    <a:avLst/>
                    <a:gdLst>
                      <a:gd name="connsiteX0" fmla="*/ 550640 w 563582"/>
                      <a:gd name="connsiteY0" fmla="*/ 294224 h 599024"/>
                      <a:gd name="connsiteX1" fmla="*/ 466820 w 563582"/>
                      <a:gd name="connsiteY1" fmla="*/ 31715 h 599024"/>
                      <a:gd name="connsiteX2" fmla="*/ 229553 w 563582"/>
                      <a:gd name="connsiteY2" fmla="*/ 82674 h 599024"/>
                      <a:gd name="connsiteX3" fmla="*/ 0 w 563582"/>
                      <a:gd name="connsiteY3" fmla="*/ 537588 h 599024"/>
                      <a:gd name="connsiteX4" fmla="*/ 372237 w 563582"/>
                      <a:gd name="connsiteY4" fmla="*/ 599024 h 599024"/>
                      <a:gd name="connsiteX5" fmla="*/ 550640 w 563582"/>
                      <a:gd name="connsiteY5" fmla="*/ 294224 h 5990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63582" h="599024">
                        <a:moveTo>
                          <a:pt x="550640" y="294224"/>
                        </a:moveTo>
                        <a:cubicBezTo>
                          <a:pt x="584511" y="197822"/>
                          <a:pt x="550288" y="90656"/>
                          <a:pt x="466820" y="31715"/>
                        </a:cubicBezTo>
                        <a:cubicBezTo>
                          <a:pt x="405099" y="-10481"/>
                          <a:pt x="320612" y="-25435"/>
                          <a:pt x="229553" y="82674"/>
                        </a:cubicBezTo>
                        <a:cubicBezTo>
                          <a:pt x="119482" y="214910"/>
                          <a:pt x="40977" y="370481"/>
                          <a:pt x="0" y="537588"/>
                        </a:cubicBezTo>
                        <a:lnTo>
                          <a:pt x="372237" y="599024"/>
                        </a:lnTo>
                        <a:cubicBezTo>
                          <a:pt x="372237" y="599024"/>
                          <a:pt x="499301" y="443672"/>
                          <a:pt x="550640" y="294224"/>
                        </a:cubicBezTo>
                        <a:close/>
                      </a:path>
                    </a:pathLst>
                  </a:custGeom>
                  <a:solidFill>
                    <a:srgbClr val="CBCBCB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3" name="ïşḷîḍé"/>
                  <p:cNvSpPr/>
                  <p:nvPr/>
                </p:nvSpPr>
                <p:spPr>
                  <a:xfrm>
                    <a:off x="8163020" y="5302662"/>
                    <a:ext cx="156781" cy="409575"/>
                  </a:xfrm>
                  <a:custGeom>
                    <a:avLst/>
                    <a:gdLst>
                      <a:gd name="connsiteX0" fmla="*/ 156781 w 156781"/>
                      <a:gd name="connsiteY0" fmla="*/ 409575 h 409575"/>
                      <a:gd name="connsiteX1" fmla="*/ 50482 w 156781"/>
                      <a:gd name="connsiteY1" fmla="*/ 409575 h 409575"/>
                      <a:gd name="connsiteX2" fmla="*/ 0 w 156781"/>
                      <a:gd name="connsiteY2" fmla="*/ 0 h 409575"/>
                      <a:gd name="connsiteX3" fmla="*/ 156781 w 156781"/>
                      <a:gd name="connsiteY3" fmla="*/ 0 h 4095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56781" h="409575">
                        <a:moveTo>
                          <a:pt x="156781" y="409575"/>
                        </a:moveTo>
                        <a:lnTo>
                          <a:pt x="50482" y="409575"/>
                        </a:lnTo>
                        <a:lnTo>
                          <a:pt x="0" y="0"/>
                        </a:lnTo>
                        <a:lnTo>
                          <a:pt x="156781" y="0"/>
                        </a:lnTo>
                        <a:close/>
                      </a:path>
                    </a:pathLst>
                  </a:custGeom>
                  <a:solidFill>
                    <a:srgbClr val="FFB8B8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4" name="îṥḻíḋe"/>
                  <p:cNvSpPr/>
                  <p:nvPr/>
                </p:nvSpPr>
                <p:spPr>
                  <a:xfrm>
                    <a:off x="8008715" y="5681662"/>
                    <a:ext cx="333851" cy="129158"/>
                  </a:xfrm>
                  <a:custGeom>
                    <a:avLst/>
                    <a:gdLst>
                      <a:gd name="connsiteX0" fmla="*/ 0 w 333851"/>
                      <a:gd name="connsiteY0" fmla="*/ 129159 h 129158"/>
                      <a:gd name="connsiteX1" fmla="*/ 333851 w 333851"/>
                      <a:gd name="connsiteY1" fmla="*/ 129159 h 129158"/>
                      <a:gd name="connsiteX2" fmla="*/ 333851 w 333851"/>
                      <a:gd name="connsiteY2" fmla="*/ 0 h 129158"/>
                      <a:gd name="connsiteX3" fmla="*/ 128968 w 333851"/>
                      <a:gd name="connsiteY3" fmla="*/ 0 h 129158"/>
                      <a:gd name="connsiteX4" fmla="*/ 0 w 333851"/>
                      <a:gd name="connsiteY4" fmla="*/ 128969 h 1291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33851" h="129158">
                        <a:moveTo>
                          <a:pt x="0" y="129159"/>
                        </a:moveTo>
                        <a:lnTo>
                          <a:pt x="333851" y="129159"/>
                        </a:lnTo>
                        <a:lnTo>
                          <a:pt x="333851" y="0"/>
                        </a:lnTo>
                        <a:lnTo>
                          <a:pt x="128968" y="0"/>
                        </a:lnTo>
                        <a:cubicBezTo>
                          <a:pt x="57741" y="0"/>
                          <a:pt x="0" y="57741"/>
                          <a:pt x="0" y="128969"/>
                        </a:cubicBezTo>
                        <a:close/>
                      </a:path>
                    </a:pathLst>
                  </a:custGeom>
                  <a:solidFill>
                    <a:srgbClr val="2F2E41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5" name="íŝḻïdé"/>
                  <p:cNvSpPr/>
                  <p:nvPr/>
                </p:nvSpPr>
                <p:spPr>
                  <a:xfrm>
                    <a:off x="8915400" y="5230462"/>
                    <a:ext cx="277748" cy="422624"/>
                  </a:xfrm>
                  <a:custGeom>
                    <a:avLst/>
                    <a:gdLst>
                      <a:gd name="connsiteX0" fmla="*/ 277749 w 277748"/>
                      <a:gd name="connsiteY0" fmla="*/ 389096 h 422624"/>
                      <a:gd name="connsiteX1" fmla="*/ 176879 w 277748"/>
                      <a:gd name="connsiteY1" fmla="*/ 422624 h 422624"/>
                      <a:gd name="connsiteX2" fmla="*/ 0 w 277748"/>
                      <a:gd name="connsiteY2" fmla="*/ 49244 h 422624"/>
                      <a:gd name="connsiteX3" fmla="*/ 148876 w 277748"/>
                      <a:gd name="connsiteY3" fmla="*/ 0 h 4226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77748" h="422624">
                        <a:moveTo>
                          <a:pt x="277749" y="389096"/>
                        </a:moveTo>
                        <a:lnTo>
                          <a:pt x="176879" y="422624"/>
                        </a:lnTo>
                        <a:lnTo>
                          <a:pt x="0" y="49244"/>
                        </a:lnTo>
                        <a:lnTo>
                          <a:pt x="148876" y="0"/>
                        </a:lnTo>
                        <a:close/>
                      </a:path>
                    </a:pathLst>
                  </a:custGeom>
                  <a:solidFill>
                    <a:srgbClr val="FFB8B8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6" name="iṧľiḍê"/>
                  <p:cNvSpPr/>
                  <p:nvPr/>
                </p:nvSpPr>
                <p:spPr>
                  <a:xfrm>
                    <a:off x="8922162" y="5583554"/>
                    <a:ext cx="323564" cy="227266"/>
                  </a:xfrm>
                  <a:custGeom>
                    <a:avLst/>
                    <a:gdLst>
                      <a:gd name="connsiteX0" fmla="*/ 6573 w 323564"/>
                      <a:gd name="connsiteY0" fmla="*/ 227266 h 227266"/>
                      <a:gd name="connsiteX1" fmla="*/ 323565 w 323564"/>
                      <a:gd name="connsiteY1" fmla="*/ 122491 h 227266"/>
                      <a:gd name="connsiteX2" fmla="*/ 283083 w 323564"/>
                      <a:gd name="connsiteY2" fmla="*/ 0 h 227266"/>
                      <a:gd name="connsiteX3" fmla="*/ 88488 w 323564"/>
                      <a:gd name="connsiteY3" fmla="*/ 64294 h 227266"/>
                      <a:gd name="connsiteX4" fmla="*/ 6563 w 323564"/>
                      <a:gd name="connsiteY4" fmla="*/ 227247 h 227266"/>
                      <a:gd name="connsiteX5" fmla="*/ 6573 w 323564"/>
                      <a:gd name="connsiteY5" fmla="*/ 227266 h 2272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23564" h="227266">
                        <a:moveTo>
                          <a:pt x="6573" y="227266"/>
                        </a:moveTo>
                        <a:lnTo>
                          <a:pt x="323565" y="122491"/>
                        </a:lnTo>
                        <a:lnTo>
                          <a:pt x="283083" y="0"/>
                        </a:lnTo>
                        <a:lnTo>
                          <a:pt x="88488" y="64294"/>
                        </a:lnTo>
                        <a:cubicBezTo>
                          <a:pt x="20870" y="86668"/>
                          <a:pt x="-15811" y="159630"/>
                          <a:pt x="6563" y="227247"/>
                        </a:cubicBezTo>
                        <a:cubicBezTo>
                          <a:pt x="6573" y="227257"/>
                          <a:pt x="6573" y="227257"/>
                          <a:pt x="6573" y="227266"/>
                        </a:cubicBezTo>
                        <a:close/>
                      </a:path>
                    </a:pathLst>
                  </a:custGeom>
                  <a:solidFill>
                    <a:srgbClr val="2F2E41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7" name="îṥlíde"/>
                  <p:cNvSpPr/>
                  <p:nvPr/>
                </p:nvSpPr>
                <p:spPr>
                  <a:xfrm>
                    <a:off x="8475726" y="2476690"/>
                    <a:ext cx="425577" cy="425577"/>
                  </a:xfrm>
                  <a:custGeom>
                    <a:avLst/>
                    <a:gdLst>
                      <a:gd name="connsiteX0" fmla="*/ 425577 w 425577"/>
                      <a:gd name="connsiteY0" fmla="*/ 212789 h 425577"/>
                      <a:gd name="connsiteX1" fmla="*/ 212788 w 425577"/>
                      <a:gd name="connsiteY1" fmla="*/ 425577 h 425577"/>
                      <a:gd name="connsiteX2" fmla="*/ 0 w 425577"/>
                      <a:gd name="connsiteY2" fmla="*/ 212789 h 425577"/>
                      <a:gd name="connsiteX3" fmla="*/ 212788 w 425577"/>
                      <a:gd name="connsiteY3" fmla="*/ 0 h 425577"/>
                      <a:gd name="connsiteX4" fmla="*/ 425577 w 425577"/>
                      <a:gd name="connsiteY4" fmla="*/ 212789 h 42557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25577" h="425577">
                        <a:moveTo>
                          <a:pt x="425577" y="212789"/>
                        </a:moveTo>
                        <a:cubicBezTo>
                          <a:pt x="425577" y="330308"/>
                          <a:pt x="330309" y="425577"/>
                          <a:pt x="212788" y="425577"/>
                        </a:cubicBezTo>
                        <a:cubicBezTo>
                          <a:pt x="95269" y="425577"/>
                          <a:pt x="0" y="330308"/>
                          <a:pt x="0" y="212789"/>
                        </a:cubicBezTo>
                        <a:cubicBezTo>
                          <a:pt x="0" y="95269"/>
                          <a:pt x="95268" y="0"/>
                          <a:pt x="212788" y="0"/>
                        </a:cubicBezTo>
                        <a:cubicBezTo>
                          <a:pt x="330308" y="0"/>
                          <a:pt x="425577" y="95269"/>
                          <a:pt x="425577" y="212789"/>
                        </a:cubicBezTo>
                        <a:close/>
                      </a:path>
                    </a:pathLst>
                  </a:custGeom>
                  <a:solidFill>
                    <a:srgbClr val="FFB8B8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8" name="íṧ1ide"/>
                  <p:cNvSpPr/>
                  <p:nvPr/>
                </p:nvSpPr>
                <p:spPr>
                  <a:xfrm>
                    <a:off x="7915465" y="3490910"/>
                    <a:ext cx="1386488" cy="2140364"/>
                  </a:xfrm>
                  <a:custGeom>
                    <a:avLst/>
                    <a:gdLst>
                      <a:gd name="connsiteX0" fmla="*/ 586645 w 1386488"/>
                      <a:gd name="connsiteY0" fmla="*/ 2107218 h 2140364"/>
                      <a:gd name="connsiteX1" fmla="*/ 685610 w 1386488"/>
                      <a:gd name="connsiteY1" fmla="*/ 1456089 h 2140364"/>
                      <a:gd name="connsiteX2" fmla="*/ 719995 w 1386488"/>
                      <a:gd name="connsiteY2" fmla="*/ 1430543 h 2140364"/>
                      <a:gd name="connsiteX3" fmla="*/ 745046 w 1386488"/>
                      <a:gd name="connsiteY3" fmla="*/ 1453517 h 2140364"/>
                      <a:gd name="connsiteX4" fmla="*/ 895160 w 1386488"/>
                      <a:gd name="connsiteY4" fmla="*/ 2073975 h 2140364"/>
                      <a:gd name="connsiteX5" fmla="*/ 939261 w 1386488"/>
                      <a:gd name="connsiteY5" fmla="*/ 2103313 h 2140364"/>
                      <a:gd name="connsiteX6" fmla="*/ 1353693 w 1386488"/>
                      <a:gd name="connsiteY6" fmla="*/ 2036638 h 2140364"/>
                      <a:gd name="connsiteX7" fmla="*/ 1385993 w 1386488"/>
                      <a:gd name="connsiteY7" fmla="*/ 1992003 h 2140364"/>
                      <a:gd name="connsiteX8" fmla="*/ 1385983 w 1386488"/>
                      <a:gd name="connsiteY8" fmla="*/ 1991965 h 2140364"/>
                      <a:gd name="connsiteX9" fmla="*/ 1384840 w 1386488"/>
                      <a:gd name="connsiteY9" fmla="*/ 1986822 h 2140364"/>
                      <a:gd name="connsiteX10" fmla="*/ 844487 w 1386488"/>
                      <a:gd name="connsiteY10" fmla="*/ 205647 h 2140364"/>
                      <a:gd name="connsiteX11" fmla="*/ 843915 w 1386488"/>
                      <a:gd name="connsiteY11" fmla="*/ 190026 h 2140364"/>
                      <a:gd name="connsiteX12" fmla="*/ 861918 w 1386488"/>
                      <a:gd name="connsiteY12" fmla="*/ 112111 h 2140364"/>
                      <a:gd name="connsiteX13" fmla="*/ 841725 w 1386488"/>
                      <a:gd name="connsiteY13" fmla="*/ 68677 h 2140364"/>
                      <a:gd name="connsiteX14" fmla="*/ 441675 w 1386488"/>
                      <a:gd name="connsiteY14" fmla="*/ 38578 h 2140364"/>
                      <a:gd name="connsiteX15" fmla="*/ 423672 w 1386488"/>
                      <a:gd name="connsiteY15" fmla="*/ 63915 h 2140364"/>
                      <a:gd name="connsiteX16" fmla="*/ 857 w 1386488"/>
                      <a:gd name="connsiteY16" fmla="*/ 2047877 h 2140364"/>
                      <a:gd name="connsiteX17" fmla="*/ 30861 w 1386488"/>
                      <a:gd name="connsiteY17" fmla="*/ 2094073 h 2140364"/>
                      <a:gd name="connsiteX18" fmla="*/ 35529 w 1386488"/>
                      <a:gd name="connsiteY18" fmla="*/ 2094835 h 2140364"/>
                      <a:gd name="connsiteX19" fmla="*/ 544640 w 1386488"/>
                      <a:gd name="connsiteY19" fmla="*/ 2140365 h 2140364"/>
                      <a:gd name="connsiteX20" fmla="*/ 548069 w 1386488"/>
                      <a:gd name="connsiteY20" fmla="*/ 2140365 h 2140364"/>
                      <a:gd name="connsiteX21" fmla="*/ 586645 w 1386488"/>
                      <a:gd name="connsiteY21" fmla="*/ 2107218 h 21403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1386488" h="2140364">
                        <a:moveTo>
                          <a:pt x="586645" y="2107218"/>
                        </a:moveTo>
                        <a:lnTo>
                          <a:pt x="685610" y="1456089"/>
                        </a:lnTo>
                        <a:cubicBezTo>
                          <a:pt x="688048" y="1439544"/>
                          <a:pt x="703450" y="1428104"/>
                          <a:pt x="719995" y="1430543"/>
                        </a:cubicBezTo>
                        <a:cubicBezTo>
                          <a:pt x="732263" y="1432352"/>
                          <a:pt x="742179" y="1441458"/>
                          <a:pt x="745046" y="1453517"/>
                        </a:cubicBezTo>
                        <a:lnTo>
                          <a:pt x="895160" y="2073975"/>
                        </a:lnTo>
                        <a:cubicBezTo>
                          <a:pt x="900085" y="2093673"/>
                          <a:pt x="919191" y="2106380"/>
                          <a:pt x="939261" y="2103313"/>
                        </a:cubicBezTo>
                        <a:lnTo>
                          <a:pt x="1353693" y="2036638"/>
                        </a:lnTo>
                        <a:cubicBezTo>
                          <a:pt x="1374934" y="2033228"/>
                          <a:pt x="1389393" y="2013244"/>
                          <a:pt x="1385993" y="1992003"/>
                        </a:cubicBezTo>
                        <a:cubicBezTo>
                          <a:pt x="1385983" y="1991994"/>
                          <a:pt x="1385983" y="1991975"/>
                          <a:pt x="1385983" y="1991965"/>
                        </a:cubicBezTo>
                        <a:cubicBezTo>
                          <a:pt x="1385697" y="1990232"/>
                          <a:pt x="1385317" y="1988517"/>
                          <a:pt x="1384840" y="1986822"/>
                        </a:cubicBezTo>
                        <a:lnTo>
                          <a:pt x="844487" y="205647"/>
                        </a:lnTo>
                        <a:cubicBezTo>
                          <a:pt x="842963" y="200570"/>
                          <a:pt x="842763" y="195198"/>
                          <a:pt x="843915" y="190026"/>
                        </a:cubicBezTo>
                        <a:lnTo>
                          <a:pt x="861918" y="112111"/>
                        </a:lnTo>
                        <a:cubicBezTo>
                          <a:pt x="866004" y="94709"/>
                          <a:pt x="857660" y="76764"/>
                          <a:pt x="841725" y="68677"/>
                        </a:cubicBezTo>
                        <a:cubicBezTo>
                          <a:pt x="768191" y="31054"/>
                          <a:pt x="581787" y="-46956"/>
                          <a:pt x="441675" y="38578"/>
                        </a:cubicBezTo>
                        <a:cubicBezTo>
                          <a:pt x="432454" y="44198"/>
                          <a:pt x="425939" y="53352"/>
                          <a:pt x="423672" y="63915"/>
                        </a:cubicBezTo>
                        <a:lnTo>
                          <a:pt x="857" y="2047877"/>
                        </a:lnTo>
                        <a:cubicBezTo>
                          <a:pt x="-3610" y="2068918"/>
                          <a:pt x="9821" y="2089597"/>
                          <a:pt x="30861" y="2094073"/>
                        </a:cubicBezTo>
                        <a:cubicBezTo>
                          <a:pt x="32404" y="2094416"/>
                          <a:pt x="33957" y="2094673"/>
                          <a:pt x="35529" y="2094835"/>
                        </a:cubicBezTo>
                        <a:lnTo>
                          <a:pt x="544640" y="2140365"/>
                        </a:lnTo>
                        <a:lnTo>
                          <a:pt x="548069" y="2140365"/>
                        </a:lnTo>
                        <a:cubicBezTo>
                          <a:pt x="567347" y="2140355"/>
                          <a:pt x="583731" y="2126277"/>
                          <a:pt x="586645" y="2107218"/>
                        </a:cubicBezTo>
                        <a:close/>
                      </a:path>
                    </a:pathLst>
                  </a:custGeom>
                  <a:solidFill>
                    <a:srgbClr val="2F2E41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9" name="iṧľïḍé"/>
                  <p:cNvSpPr/>
                  <p:nvPr/>
                </p:nvSpPr>
                <p:spPr>
                  <a:xfrm>
                    <a:off x="8775823" y="2423451"/>
                    <a:ext cx="176325" cy="174444"/>
                  </a:xfrm>
                  <a:custGeom>
                    <a:avLst/>
                    <a:gdLst>
                      <a:gd name="connsiteX0" fmla="*/ 53852 w 176325"/>
                      <a:gd name="connsiteY0" fmla="*/ 115723 h 174444"/>
                      <a:gd name="connsiteX1" fmla="*/ 11752 w 176325"/>
                      <a:gd name="connsiteY1" fmla="*/ 79147 h 174444"/>
                      <a:gd name="connsiteX2" fmla="*/ 3369 w 176325"/>
                      <a:gd name="connsiteY2" fmla="*/ 26283 h 174444"/>
                      <a:gd name="connsiteX3" fmla="*/ 70901 w 176325"/>
                      <a:gd name="connsiteY3" fmla="*/ 3137 h 174444"/>
                      <a:gd name="connsiteX4" fmla="*/ 132814 w 176325"/>
                      <a:gd name="connsiteY4" fmla="*/ 49334 h 174444"/>
                      <a:gd name="connsiteX5" fmla="*/ 172724 w 176325"/>
                      <a:gd name="connsiteY5" fmla="*/ 104674 h 174444"/>
                      <a:gd name="connsiteX6" fmla="*/ 157579 w 176325"/>
                      <a:gd name="connsiteY6" fmla="*/ 166967 h 174444"/>
                      <a:gd name="connsiteX7" fmla="*/ 94809 w 176325"/>
                      <a:gd name="connsiteY7" fmla="*/ 160776 h 174444"/>
                      <a:gd name="connsiteX8" fmla="*/ 55662 w 176325"/>
                      <a:gd name="connsiteY8" fmla="*/ 106388 h 1744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76325" h="174444">
                        <a:moveTo>
                          <a:pt x="53852" y="115723"/>
                        </a:moveTo>
                        <a:cubicBezTo>
                          <a:pt x="37840" y="106017"/>
                          <a:pt x="23600" y="93644"/>
                          <a:pt x="11752" y="79147"/>
                        </a:cubicBezTo>
                        <a:cubicBezTo>
                          <a:pt x="-31" y="64173"/>
                          <a:pt x="-3203" y="44161"/>
                          <a:pt x="3369" y="26283"/>
                        </a:cubicBezTo>
                        <a:cubicBezTo>
                          <a:pt x="14133" y="2566"/>
                          <a:pt x="46137" y="-4959"/>
                          <a:pt x="70901" y="3137"/>
                        </a:cubicBezTo>
                        <a:cubicBezTo>
                          <a:pt x="95667" y="11234"/>
                          <a:pt x="114717" y="30569"/>
                          <a:pt x="132814" y="49334"/>
                        </a:cubicBezTo>
                        <a:cubicBezTo>
                          <a:pt x="148816" y="65812"/>
                          <a:pt x="165199" y="83052"/>
                          <a:pt x="172724" y="104674"/>
                        </a:cubicBezTo>
                        <a:cubicBezTo>
                          <a:pt x="180249" y="126296"/>
                          <a:pt x="176343" y="153823"/>
                          <a:pt x="157579" y="166967"/>
                        </a:cubicBezTo>
                        <a:cubicBezTo>
                          <a:pt x="138815" y="180112"/>
                          <a:pt x="112621" y="174587"/>
                          <a:pt x="94809" y="160776"/>
                        </a:cubicBezTo>
                        <a:cubicBezTo>
                          <a:pt x="78055" y="145622"/>
                          <a:pt x="64711" y="127086"/>
                          <a:pt x="55662" y="106388"/>
                        </a:cubicBezTo>
                        <a:close/>
                      </a:path>
                    </a:pathLst>
                  </a:custGeom>
                  <a:solidFill>
                    <a:srgbClr val="2F2E41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40" name="iṥḷiďé"/>
                  <p:cNvSpPr/>
                  <p:nvPr/>
                </p:nvSpPr>
                <p:spPr>
                  <a:xfrm>
                    <a:off x="8901683" y="2384572"/>
                    <a:ext cx="345757" cy="1183992"/>
                  </a:xfrm>
                  <a:custGeom>
                    <a:avLst/>
                    <a:gdLst>
                      <a:gd name="connsiteX0" fmla="*/ 0 w 345757"/>
                      <a:gd name="connsiteY0" fmla="*/ 93927 h 1183992"/>
                      <a:gd name="connsiteX1" fmla="*/ 128588 w 345757"/>
                      <a:gd name="connsiteY1" fmla="*/ 1630 h 1183992"/>
                      <a:gd name="connsiteX2" fmla="*/ 255651 w 345757"/>
                      <a:gd name="connsiteY2" fmla="*/ 118025 h 1183992"/>
                      <a:gd name="connsiteX3" fmla="*/ 221361 w 345757"/>
                      <a:gd name="connsiteY3" fmla="*/ 487214 h 1183992"/>
                      <a:gd name="connsiteX4" fmla="*/ 124683 w 345757"/>
                      <a:gd name="connsiteY4" fmla="*/ 851450 h 1183992"/>
                      <a:gd name="connsiteX5" fmla="*/ 345757 w 345757"/>
                      <a:gd name="connsiteY5" fmla="*/ 1172062 h 1183992"/>
                      <a:gd name="connsiteX6" fmla="*/ 143542 w 345757"/>
                      <a:gd name="connsiteY6" fmla="*/ 1124437 h 1183992"/>
                      <a:gd name="connsiteX7" fmla="*/ 29242 w 345757"/>
                      <a:gd name="connsiteY7" fmla="*/ 682191 h 1183992"/>
                      <a:gd name="connsiteX8" fmla="*/ 148114 w 345757"/>
                      <a:gd name="connsiteY8" fmla="*/ 473784 h 1183992"/>
                      <a:gd name="connsiteX9" fmla="*/ 196310 w 345757"/>
                      <a:gd name="connsiteY9" fmla="*/ 244517 h 1183992"/>
                      <a:gd name="connsiteX10" fmla="*/ 14668 w 345757"/>
                      <a:gd name="connsiteY10" fmla="*/ 134313 h 11839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345757" h="1183992">
                        <a:moveTo>
                          <a:pt x="0" y="93927"/>
                        </a:moveTo>
                        <a:cubicBezTo>
                          <a:pt x="1143" y="33919"/>
                          <a:pt x="69532" y="-9038"/>
                          <a:pt x="128588" y="1630"/>
                        </a:cubicBezTo>
                        <a:cubicBezTo>
                          <a:pt x="187643" y="12298"/>
                          <a:pt x="233363" y="62590"/>
                          <a:pt x="255651" y="118025"/>
                        </a:cubicBezTo>
                        <a:cubicBezTo>
                          <a:pt x="303276" y="235373"/>
                          <a:pt x="267652" y="369104"/>
                          <a:pt x="221361" y="487214"/>
                        </a:cubicBezTo>
                        <a:cubicBezTo>
                          <a:pt x="175070" y="605324"/>
                          <a:pt x="117920" y="725339"/>
                          <a:pt x="124683" y="851450"/>
                        </a:cubicBezTo>
                        <a:cubicBezTo>
                          <a:pt x="134064" y="990753"/>
                          <a:pt x="218884" y="1113769"/>
                          <a:pt x="345757" y="1172062"/>
                        </a:cubicBezTo>
                        <a:cubicBezTo>
                          <a:pt x="279082" y="1202256"/>
                          <a:pt x="199549" y="1171014"/>
                          <a:pt x="143542" y="1124437"/>
                        </a:cubicBezTo>
                        <a:cubicBezTo>
                          <a:pt x="19717" y="1019662"/>
                          <a:pt x="-28766" y="833829"/>
                          <a:pt x="29242" y="682191"/>
                        </a:cubicBezTo>
                        <a:cubicBezTo>
                          <a:pt x="57817" y="607420"/>
                          <a:pt x="108585" y="543412"/>
                          <a:pt x="148114" y="473784"/>
                        </a:cubicBezTo>
                        <a:cubicBezTo>
                          <a:pt x="187643" y="404156"/>
                          <a:pt x="216694" y="321955"/>
                          <a:pt x="196310" y="244517"/>
                        </a:cubicBezTo>
                        <a:cubicBezTo>
                          <a:pt x="175927" y="167079"/>
                          <a:pt x="88964" y="104309"/>
                          <a:pt x="14668" y="134313"/>
                        </a:cubicBezTo>
                        <a:close/>
                      </a:path>
                    </a:pathLst>
                  </a:custGeom>
                  <a:solidFill>
                    <a:srgbClr val="2F2E41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41" name="iṥľiḋè"/>
                  <p:cNvSpPr/>
                  <p:nvPr/>
                </p:nvSpPr>
                <p:spPr>
                  <a:xfrm>
                    <a:off x="8439532" y="2450110"/>
                    <a:ext cx="490954" cy="473674"/>
                  </a:xfrm>
                  <a:custGeom>
                    <a:avLst/>
                    <a:gdLst>
                      <a:gd name="connsiteX0" fmla="*/ 236218 w 490954"/>
                      <a:gd name="connsiteY0" fmla="*/ 333856 h 473674"/>
                      <a:gd name="connsiteX1" fmla="*/ 239552 w 490954"/>
                      <a:gd name="connsiteY1" fmla="*/ 233939 h 473674"/>
                      <a:gd name="connsiteX2" fmla="*/ 187164 w 490954"/>
                      <a:gd name="connsiteY2" fmla="*/ 220032 h 473674"/>
                      <a:gd name="connsiteX3" fmla="*/ 70292 w 490954"/>
                      <a:gd name="connsiteY3" fmla="*/ 212698 h 473674"/>
                      <a:gd name="connsiteX4" fmla="*/ 6666 w 490954"/>
                      <a:gd name="connsiteY4" fmla="*/ 155548 h 473674"/>
                      <a:gd name="connsiteX5" fmla="*/ 51433 w 490954"/>
                      <a:gd name="connsiteY5" fmla="*/ 26675 h 473674"/>
                      <a:gd name="connsiteX6" fmla="*/ 218311 w 490954"/>
                      <a:gd name="connsiteY6" fmla="*/ 23722 h 473674"/>
                      <a:gd name="connsiteX7" fmla="*/ 379760 w 490954"/>
                      <a:gd name="connsiteY7" fmla="*/ 42772 h 473674"/>
                      <a:gd name="connsiteX8" fmla="*/ 476439 w 490954"/>
                      <a:gd name="connsiteY8" fmla="*/ 178408 h 473674"/>
                      <a:gd name="connsiteX9" fmla="*/ 484440 w 490954"/>
                      <a:gd name="connsiteY9" fmla="*/ 322331 h 473674"/>
                      <a:gd name="connsiteX10" fmla="*/ 352042 w 490954"/>
                      <a:gd name="connsiteY10" fmla="*/ 468254 h 473674"/>
                      <a:gd name="connsiteX11" fmla="*/ 275842 w 490954"/>
                      <a:gd name="connsiteY11" fmla="*/ 457014 h 473674"/>
                      <a:gd name="connsiteX12" fmla="*/ 237266 w 490954"/>
                      <a:gd name="connsiteY12" fmla="*/ 400626 h 473674"/>
                      <a:gd name="connsiteX13" fmla="*/ 236218 w 490954"/>
                      <a:gd name="connsiteY13" fmla="*/ 333856 h 473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490954" h="473674">
                        <a:moveTo>
                          <a:pt x="236218" y="333856"/>
                        </a:moveTo>
                        <a:cubicBezTo>
                          <a:pt x="254697" y="302423"/>
                          <a:pt x="273461" y="261275"/>
                          <a:pt x="239552" y="233939"/>
                        </a:cubicBezTo>
                        <a:cubicBezTo>
                          <a:pt x="224674" y="222451"/>
                          <a:pt x="205786" y="217432"/>
                          <a:pt x="187164" y="220032"/>
                        </a:cubicBezTo>
                        <a:cubicBezTo>
                          <a:pt x="149064" y="224604"/>
                          <a:pt x="107250" y="226509"/>
                          <a:pt x="70292" y="212698"/>
                        </a:cubicBezTo>
                        <a:cubicBezTo>
                          <a:pt x="42223" y="203040"/>
                          <a:pt x="19267" y="182418"/>
                          <a:pt x="6666" y="155548"/>
                        </a:cubicBezTo>
                        <a:cubicBezTo>
                          <a:pt x="-12384" y="110304"/>
                          <a:pt x="11523" y="55250"/>
                          <a:pt x="51433" y="26675"/>
                        </a:cubicBezTo>
                        <a:cubicBezTo>
                          <a:pt x="101401" y="-7787"/>
                          <a:pt x="167152" y="-8949"/>
                          <a:pt x="218311" y="23722"/>
                        </a:cubicBezTo>
                        <a:cubicBezTo>
                          <a:pt x="270032" y="862"/>
                          <a:pt x="332611" y="11054"/>
                          <a:pt x="379760" y="42772"/>
                        </a:cubicBezTo>
                        <a:cubicBezTo>
                          <a:pt x="426908" y="74490"/>
                          <a:pt x="458912" y="124592"/>
                          <a:pt x="476439" y="178408"/>
                        </a:cubicBezTo>
                        <a:cubicBezTo>
                          <a:pt x="492536" y="224690"/>
                          <a:pt x="495308" y="274553"/>
                          <a:pt x="484440" y="322331"/>
                        </a:cubicBezTo>
                        <a:cubicBezTo>
                          <a:pt x="466618" y="389587"/>
                          <a:pt x="417250" y="444003"/>
                          <a:pt x="352042" y="468254"/>
                        </a:cubicBezTo>
                        <a:cubicBezTo>
                          <a:pt x="326458" y="478398"/>
                          <a:pt x="297407" y="474112"/>
                          <a:pt x="275842" y="457014"/>
                        </a:cubicBezTo>
                        <a:cubicBezTo>
                          <a:pt x="258611" y="441612"/>
                          <a:pt x="245372" y="422267"/>
                          <a:pt x="237266" y="400626"/>
                        </a:cubicBezTo>
                        <a:cubicBezTo>
                          <a:pt x="230027" y="376909"/>
                          <a:pt x="226312" y="350525"/>
                          <a:pt x="236218" y="333856"/>
                        </a:cubicBezTo>
                        <a:close/>
                      </a:path>
                    </a:pathLst>
                  </a:custGeom>
                  <a:solidFill>
                    <a:srgbClr val="2F2E41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42" name="ïṧļïďê"/>
                  <p:cNvSpPr/>
                  <p:nvPr/>
                </p:nvSpPr>
                <p:spPr>
                  <a:xfrm>
                    <a:off x="7864613" y="2903453"/>
                    <a:ext cx="740938" cy="494126"/>
                  </a:xfrm>
                  <a:custGeom>
                    <a:avLst/>
                    <a:gdLst>
                      <a:gd name="connsiteX0" fmla="*/ 179821 w 740938"/>
                      <a:gd name="connsiteY0" fmla="*/ 70346 h 494126"/>
                      <a:gd name="connsiteX1" fmla="*/ 181821 w 740938"/>
                      <a:gd name="connsiteY1" fmla="*/ 84538 h 494126"/>
                      <a:gd name="connsiteX2" fmla="*/ 554058 w 740938"/>
                      <a:gd name="connsiteY2" fmla="*/ 299327 h 494126"/>
                      <a:gd name="connsiteX3" fmla="*/ 644546 w 740938"/>
                      <a:gd name="connsiteY3" fmla="*/ 247226 h 494126"/>
                      <a:gd name="connsiteX4" fmla="*/ 740938 w 740938"/>
                      <a:gd name="connsiteY4" fmla="*/ 373527 h 494126"/>
                      <a:gd name="connsiteX5" fmla="*/ 589777 w 740938"/>
                      <a:gd name="connsiteY5" fmla="*/ 481255 h 494126"/>
                      <a:gd name="connsiteX6" fmla="*/ 506624 w 740938"/>
                      <a:gd name="connsiteY6" fmla="*/ 479255 h 494126"/>
                      <a:gd name="connsiteX7" fmla="*/ 122766 w 740938"/>
                      <a:gd name="connsiteY7" fmla="*/ 176455 h 494126"/>
                      <a:gd name="connsiteX8" fmla="*/ 5714 w 740938"/>
                      <a:gd name="connsiteY8" fmla="*/ 122762 h 494126"/>
                      <a:gd name="connsiteX9" fmla="*/ 59406 w 740938"/>
                      <a:gd name="connsiteY9" fmla="*/ 5710 h 494126"/>
                      <a:gd name="connsiteX10" fmla="*/ 176458 w 740938"/>
                      <a:gd name="connsiteY10" fmla="*/ 59402 h 494126"/>
                      <a:gd name="connsiteX11" fmla="*/ 176487 w 740938"/>
                      <a:gd name="connsiteY11" fmla="*/ 59488 h 494126"/>
                      <a:gd name="connsiteX12" fmla="*/ 179726 w 740938"/>
                      <a:gd name="connsiteY12" fmla="*/ 70346 h 4941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740938" h="494126">
                        <a:moveTo>
                          <a:pt x="179821" y="70346"/>
                        </a:moveTo>
                        <a:cubicBezTo>
                          <a:pt x="180869" y="75013"/>
                          <a:pt x="181535" y="79767"/>
                          <a:pt x="181821" y="84538"/>
                        </a:cubicBezTo>
                        <a:lnTo>
                          <a:pt x="554058" y="299327"/>
                        </a:lnTo>
                        <a:lnTo>
                          <a:pt x="644546" y="247226"/>
                        </a:lnTo>
                        <a:lnTo>
                          <a:pt x="740938" y="373527"/>
                        </a:lnTo>
                        <a:lnTo>
                          <a:pt x="589777" y="481255"/>
                        </a:lnTo>
                        <a:cubicBezTo>
                          <a:pt x="564688" y="499133"/>
                          <a:pt x="530817" y="498314"/>
                          <a:pt x="506624" y="479255"/>
                        </a:cubicBezTo>
                        <a:lnTo>
                          <a:pt x="122766" y="176455"/>
                        </a:lnTo>
                        <a:cubicBezTo>
                          <a:pt x="75617" y="193952"/>
                          <a:pt x="23211" y="169911"/>
                          <a:pt x="5714" y="122762"/>
                        </a:cubicBezTo>
                        <a:cubicBezTo>
                          <a:pt x="-11784" y="75614"/>
                          <a:pt x="12257" y="23207"/>
                          <a:pt x="59406" y="5710"/>
                        </a:cubicBezTo>
                        <a:cubicBezTo>
                          <a:pt x="106554" y="-11778"/>
                          <a:pt x="158961" y="12253"/>
                          <a:pt x="176458" y="59402"/>
                        </a:cubicBezTo>
                        <a:cubicBezTo>
                          <a:pt x="176468" y="59431"/>
                          <a:pt x="176478" y="59459"/>
                          <a:pt x="176487" y="59488"/>
                        </a:cubicBezTo>
                        <a:cubicBezTo>
                          <a:pt x="177783" y="63041"/>
                          <a:pt x="178869" y="66670"/>
                          <a:pt x="179726" y="70346"/>
                        </a:cubicBezTo>
                        <a:close/>
                      </a:path>
                    </a:pathLst>
                  </a:custGeom>
                  <a:solidFill>
                    <a:srgbClr val="FFB8B8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43" name="íśľïdé"/>
                  <p:cNvSpPr/>
                  <p:nvPr/>
                </p:nvSpPr>
                <p:spPr>
                  <a:xfrm>
                    <a:off x="8422943" y="3035255"/>
                    <a:ext cx="367515" cy="348724"/>
                  </a:xfrm>
                  <a:custGeom>
                    <a:avLst/>
                    <a:gdLst>
                      <a:gd name="connsiteX0" fmla="*/ 8205 w 367515"/>
                      <a:gd name="connsiteY0" fmla="*/ 177717 h 348724"/>
                      <a:gd name="connsiteX1" fmla="*/ 128506 w 367515"/>
                      <a:gd name="connsiteY1" fmla="*/ 333546 h 348724"/>
                      <a:gd name="connsiteX2" fmla="*/ 183141 w 367515"/>
                      <a:gd name="connsiteY2" fmla="*/ 340623 h 348724"/>
                      <a:gd name="connsiteX3" fmla="*/ 183180 w 367515"/>
                      <a:gd name="connsiteY3" fmla="*/ 340594 h 348724"/>
                      <a:gd name="connsiteX4" fmla="*/ 187370 w 367515"/>
                      <a:gd name="connsiteY4" fmla="*/ 336784 h 348724"/>
                      <a:gd name="connsiteX5" fmla="*/ 323578 w 367515"/>
                      <a:gd name="connsiteY5" fmla="*/ 195433 h 348724"/>
                      <a:gd name="connsiteX6" fmla="*/ 346295 w 367515"/>
                      <a:gd name="connsiteY6" fmla="*/ 43938 h 348724"/>
                      <a:gd name="connsiteX7" fmla="*/ 194800 w 367515"/>
                      <a:gd name="connsiteY7" fmla="*/ 21221 h 348724"/>
                      <a:gd name="connsiteX8" fmla="*/ 194228 w 367515"/>
                      <a:gd name="connsiteY8" fmla="*/ 21221 h 348724"/>
                      <a:gd name="connsiteX9" fmla="*/ 190800 w 367515"/>
                      <a:gd name="connsiteY9" fmla="*/ 23983 h 348724"/>
                      <a:gd name="connsiteX10" fmla="*/ 20016 w 367515"/>
                      <a:gd name="connsiteY10" fmla="*/ 119233 h 348724"/>
                      <a:gd name="connsiteX11" fmla="*/ 4928 w 367515"/>
                      <a:gd name="connsiteY11" fmla="*/ 172221 h 348724"/>
                      <a:gd name="connsiteX12" fmla="*/ 4967 w 367515"/>
                      <a:gd name="connsiteY12" fmla="*/ 172287 h 348724"/>
                      <a:gd name="connsiteX13" fmla="*/ 8110 w 367515"/>
                      <a:gd name="connsiteY13" fmla="*/ 177145 h 3487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367515" h="348724">
                        <a:moveTo>
                          <a:pt x="8205" y="177717"/>
                        </a:moveTo>
                        <a:lnTo>
                          <a:pt x="128506" y="333546"/>
                        </a:lnTo>
                        <a:cubicBezTo>
                          <a:pt x="141641" y="350586"/>
                          <a:pt x="166101" y="353758"/>
                          <a:pt x="183141" y="340623"/>
                        </a:cubicBezTo>
                        <a:cubicBezTo>
                          <a:pt x="183151" y="340613"/>
                          <a:pt x="183170" y="340604"/>
                          <a:pt x="183180" y="340594"/>
                        </a:cubicBezTo>
                        <a:cubicBezTo>
                          <a:pt x="184684" y="339451"/>
                          <a:pt x="186094" y="338175"/>
                          <a:pt x="187370" y="336784"/>
                        </a:cubicBezTo>
                        <a:lnTo>
                          <a:pt x="323578" y="195433"/>
                        </a:lnTo>
                        <a:cubicBezTo>
                          <a:pt x="371688" y="159876"/>
                          <a:pt x="381852" y="92049"/>
                          <a:pt x="346295" y="43938"/>
                        </a:cubicBezTo>
                        <a:cubicBezTo>
                          <a:pt x="310738" y="-4173"/>
                          <a:pt x="242911" y="-14336"/>
                          <a:pt x="194800" y="21221"/>
                        </a:cubicBezTo>
                        <a:lnTo>
                          <a:pt x="194228" y="21221"/>
                        </a:lnTo>
                        <a:lnTo>
                          <a:pt x="190800" y="23983"/>
                        </a:lnTo>
                        <a:lnTo>
                          <a:pt x="20016" y="119233"/>
                        </a:lnTo>
                        <a:cubicBezTo>
                          <a:pt x="1214" y="129701"/>
                          <a:pt x="-5540" y="153418"/>
                          <a:pt x="4928" y="172221"/>
                        </a:cubicBezTo>
                        <a:cubicBezTo>
                          <a:pt x="4938" y="172240"/>
                          <a:pt x="4957" y="172268"/>
                          <a:pt x="4967" y="172287"/>
                        </a:cubicBezTo>
                        <a:cubicBezTo>
                          <a:pt x="5900" y="173973"/>
                          <a:pt x="6957" y="175602"/>
                          <a:pt x="8110" y="177145"/>
                        </a:cubicBezTo>
                        <a:close/>
                      </a:path>
                    </a:pathLst>
                  </a:custGeom>
                  <a:solidFill>
                    <a:srgbClr val="CBCBCB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sp>
              <p:nvSpPr>
                <p:cNvPr id="28" name="iśḷïďè"/>
                <p:cNvSpPr/>
                <p:nvPr/>
              </p:nvSpPr>
              <p:spPr>
                <a:xfrm>
                  <a:off x="6689725" y="5997984"/>
                  <a:ext cx="3648075" cy="19050"/>
                </a:xfrm>
                <a:custGeom>
                  <a:avLst/>
                  <a:gdLst>
                    <a:gd name="connsiteX0" fmla="*/ 3638550 w 3648075"/>
                    <a:gd name="connsiteY0" fmla="*/ 19050 h 19050"/>
                    <a:gd name="connsiteX1" fmla="*/ 9525 w 3648075"/>
                    <a:gd name="connsiteY1" fmla="*/ 19050 h 19050"/>
                    <a:gd name="connsiteX2" fmla="*/ 0 w 3648075"/>
                    <a:gd name="connsiteY2" fmla="*/ 9525 h 19050"/>
                    <a:gd name="connsiteX3" fmla="*/ 9525 w 3648075"/>
                    <a:gd name="connsiteY3" fmla="*/ 0 h 19050"/>
                    <a:gd name="connsiteX4" fmla="*/ 3638550 w 3648075"/>
                    <a:gd name="connsiteY4" fmla="*/ 0 h 19050"/>
                    <a:gd name="connsiteX5" fmla="*/ 3648075 w 3648075"/>
                    <a:gd name="connsiteY5" fmla="*/ 9525 h 19050"/>
                    <a:gd name="connsiteX6" fmla="*/ 3638550 w 3648075"/>
                    <a:gd name="connsiteY6" fmla="*/ 19050 h 19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648075" h="19050">
                      <a:moveTo>
                        <a:pt x="3638550" y="19050"/>
                      </a:moveTo>
                      <a:lnTo>
                        <a:pt x="9525" y="19050"/>
                      </a:lnTo>
                      <a:cubicBezTo>
                        <a:pt x="4267" y="19050"/>
                        <a:pt x="0" y="14783"/>
                        <a:pt x="0" y="9525"/>
                      </a:cubicBezTo>
                      <a:cubicBezTo>
                        <a:pt x="0" y="4267"/>
                        <a:pt x="4267" y="0"/>
                        <a:pt x="9525" y="0"/>
                      </a:cubicBezTo>
                      <a:lnTo>
                        <a:pt x="3638550" y="0"/>
                      </a:lnTo>
                      <a:cubicBezTo>
                        <a:pt x="3643808" y="0"/>
                        <a:pt x="3648075" y="4267"/>
                        <a:pt x="3648075" y="9525"/>
                      </a:cubicBezTo>
                      <a:cubicBezTo>
                        <a:pt x="3648075" y="14783"/>
                        <a:pt x="3643808" y="19050"/>
                        <a:pt x="3638550" y="19050"/>
                      </a:cubicBezTo>
                      <a:close/>
                    </a:path>
                  </a:pathLst>
                </a:custGeom>
                <a:solidFill>
                  <a:srgbClr val="CBCBC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9" name="iślïdê"/>
                <p:cNvSpPr/>
                <p:nvPr/>
              </p:nvSpPr>
              <p:spPr>
                <a:xfrm>
                  <a:off x="5578157" y="1435509"/>
                  <a:ext cx="19050" cy="2886456"/>
                </a:xfrm>
                <a:custGeom>
                  <a:avLst/>
                  <a:gdLst>
                    <a:gd name="connsiteX0" fmla="*/ 0 w 19050"/>
                    <a:gd name="connsiteY0" fmla="*/ 0 h 2886456"/>
                    <a:gd name="connsiteX1" fmla="*/ 19050 w 19050"/>
                    <a:gd name="connsiteY1" fmla="*/ 0 h 2886456"/>
                    <a:gd name="connsiteX2" fmla="*/ 19050 w 19050"/>
                    <a:gd name="connsiteY2" fmla="*/ 2886456 h 2886456"/>
                    <a:gd name="connsiteX3" fmla="*/ 0 w 19050"/>
                    <a:gd name="connsiteY3" fmla="*/ 2886456 h 28864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050" h="2886456">
                      <a:moveTo>
                        <a:pt x="0" y="0"/>
                      </a:moveTo>
                      <a:lnTo>
                        <a:pt x="19050" y="0"/>
                      </a:lnTo>
                      <a:lnTo>
                        <a:pt x="19050" y="2886456"/>
                      </a:lnTo>
                      <a:lnTo>
                        <a:pt x="0" y="2886456"/>
                      </a:lnTo>
                      <a:close/>
                    </a:path>
                  </a:pathLst>
                </a:custGeom>
                <a:solidFill>
                  <a:srgbClr val="CBCBC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sp>
          <p:nvSpPr>
            <p:cNvPr id="2" name="矩形 1"/>
            <p:cNvSpPr/>
            <p:nvPr/>
          </p:nvSpPr>
          <p:spPr>
            <a:xfrm>
              <a:off x="8885726" y="2695694"/>
              <a:ext cx="1192955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1200" b="1" dirty="0">
                  <a:solidFill>
                    <a:schemeClr val="dk1"/>
                  </a:solidFill>
                </a:rPr>
                <a:t>HOW TO</a:t>
              </a:r>
              <a:endParaRPr lang="en-US" altLang="zh-CN" sz="1200" b="1" dirty="0">
                <a:solidFill>
                  <a:schemeClr val="dk1"/>
                </a:solidFill>
              </a:endParaRPr>
            </a:p>
            <a:p>
              <a:pPr algn="ctr"/>
              <a:r>
                <a:rPr lang="en-US" altLang="zh-CN" sz="1200" b="1" dirty="0">
                  <a:solidFill>
                    <a:schemeClr val="dk1"/>
                  </a:solidFill>
                </a:rPr>
                <a:t>CONTRIBUTE</a:t>
              </a:r>
              <a:endParaRPr lang="zh-CN" altLang="en-US" sz="1200" b="1" dirty="0"/>
            </a:p>
          </p:txBody>
        </p:sp>
      </p:grpSp>
    </p:spTree>
    <p:custDataLst>
      <p:tags r:id="rId1"/>
    </p:custData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本框 16"/>
          <p:cNvSpPr txBox="1"/>
          <p:nvPr/>
        </p:nvSpPr>
        <p:spPr>
          <a:xfrm>
            <a:off x="669923" y="915745"/>
            <a:ext cx="10850565" cy="628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20000"/>
              </a:lnSpc>
            </a:pPr>
            <a:r>
              <a:rPr lang="zh-CN" altLang="zh-CN" sz="3200" b="1">
                <a:solidFill>
                  <a:schemeClr val="dk1"/>
                </a:solidFill>
                <a:ea typeface="Arial" panose="020B0604020202020204"/>
                <a:cs typeface="Arial" panose="020B0604020202020204"/>
                <a:sym typeface="Arial" panose="020B0604020202020204"/>
              </a:rPr>
              <a:t>报告问题</a:t>
            </a:r>
            <a:endParaRPr lang="en-US" altLang="zh-CN" sz="3200" b="1" dirty="0">
              <a:solidFill>
                <a:schemeClr val="dk1"/>
              </a:solidFill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5" name="Google Shape;181;g1057c05bba8_0_25"/>
          <p:cNvSpPr txBox="1"/>
          <p:nvPr/>
        </p:nvSpPr>
        <p:spPr>
          <a:xfrm>
            <a:off x="631825" y="1705610"/>
            <a:ext cx="8877936" cy="3864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39370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ts val="1900"/>
              <a:buFont typeface="Arial" panose="020B0604020202020204" pitchFamily="34" charset="0"/>
              <a:buChar char="•"/>
            </a:pPr>
            <a:r>
              <a:rPr lang="en-US" dirty="0"/>
              <a:t>在IvorySQL或其任何相关项目中发现问题</a:t>
            </a:r>
            <a:r>
              <a:rPr lang="zh-CN" altLang="en-US" dirty="0"/>
              <a:t>，可以通过如下方式：</a:t>
            </a:r>
            <a:endParaRPr lang="en-US" dirty="0"/>
          </a:p>
          <a:p>
            <a:pPr marL="914400" lvl="1" indent="-3492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ts val="1900"/>
              <a:buChar char="○"/>
            </a:pPr>
            <a:r>
              <a:rPr dirty="0"/>
              <a:t>在GitHub找到</a:t>
            </a:r>
            <a:r>
              <a:rPr dirty="0">
                <a:sym typeface="+mn-ea"/>
              </a:rPr>
              <a:t>IvorySQL</a:t>
            </a:r>
            <a:r>
              <a:rPr dirty="0"/>
              <a:t>项目，并从“</a:t>
            </a:r>
            <a:r>
              <a:rPr lang="en-US" dirty="0"/>
              <a:t>issues</a:t>
            </a:r>
            <a:r>
              <a:rPr dirty="0"/>
              <a:t>”选项卡发布错误报告。</a:t>
            </a:r>
            <a:endParaRPr dirty="0"/>
          </a:p>
          <a:p>
            <a:pPr marL="914400" lvl="1" indent="-3492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ts val="1900"/>
              <a:buChar char="○"/>
            </a:pPr>
            <a:r>
              <a:rPr dirty="0"/>
              <a:t>还可以通过社区列表从社区询问问题</a:t>
            </a:r>
            <a:endParaRPr dirty="0"/>
          </a:p>
          <a:p>
            <a:pPr marL="1371600" lvl="2" indent="-3492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ts val="1900"/>
              <a:buFont typeface="Wingdings" panose="05000000000000000000" charset="0"/>
              <a:buChar char="n"/>
            </a:pPr>
            <a:r>
              <a:rPr lang="zh-CN" altLang="en-US" sz="1600" dirty="0">
                <a:solidFill>
                  <a:schemeClr val="dk1"/>
                </a:solidFill>
              </a:rPr>
              <a:t>bugs@ivorysql.org</a:t>
            </a:r>
            <a:endParaRPr lang="zh-CN" altLang="en-US" sz="1600" dirty="0">
              <a:solidFill>
                <a:schemeClr val="dk1"/>
              </a:solidFill>
            </a:endParaRPr>
          </a:p>
          <a:p>
            <a:pPr marL="1371600" lvl="2" indent="-3492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ts val="1900"/>
              <a:buFont typeface="Wingdings" panose="05000000000000000000" charset="0"/>
              <a:buChar char="n"/>
            </a:pPr>
            <a:r>
              <a:rPr lang="zh-CN" altLang="en-US" sz="1600" dirty="0">
                <a:solidFill>
                  <a:schemeClr val="dk1"/>
                </a:solidFill>
              </a:rPr>
              <a:t>general@ivorysql.org</a:t>
            </a:r>
            <a:endParaRPr lang="zh-CN" altLang="en-US" sz="1600" dirty="0">
              <a:solidFill>
                <a:schemeClr val="dk1"/>
              </a:solidFill>
            </a:endParaRPr>
          </a:p>
          <a:p>
            <a:pPr marL="1371600" lvl="2" indent="-3492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ts val="1900"/>
              <a:buFont typeface="Wingdings" panose="05000000000000000000" charset="0"/>
              <a:buChar char="n"/>
            </a:pPr>
            <a:r>
              <a:rPr lang="zh-CN" altLang="en-US" sz="1600" dirty="0">
                <a:solidFill>
                  <a:schemeClr val="dk1"/>
                </a:solidFill>
              </a:rPr>
              <a:t>hackers@ivorysql.org</a:t>
            </a:r>
            <a:endParaRPr sz="1600" dirty="0"/>
          </a:p>
          <a:p>
            <a:pPr marL="914400" lvl="1" indent="-3492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Char char="○"/>
            </a:pPr>
            <a:r>
              <a:rPr lang="zh-CN" dirty="0">
                <a:solidFill>
                  <a:schemeClr val="dk1"/>
                </a:solidFill>
              </a:rPr>
              <a:t>文档相关问题查询</a:t>
            </a:r>
            <a:endParaRPr dirty="0">
              <a:solidFill>
                <a:schemeClr val="dk1"/>
              </a:solidFill>
            </a:endParaRPr>
          </a:p>
          <a:p>
            <a:pPr marL="1371600" lvl="2" indent="-3492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Wingdings" panose="05000000000000000000" charset="0"/>
              <a:buChar char="n"/>
            </a:pPr>
            <a:r>
              <a:rPr lang="zh-CN" altLang="en-US" sz="1600" dirty="0">
                <a:solidFill>
                  <a:schemeClr val="dk1"/>
                </a:solidFill>
              </a:rPr>
              <a:t>ivorysql-docs@ivorysql.org</a:t>
            </a:r>
            <a:endParaRPr sz="1600" dirty="0">
              <a:solidFill>
                <a:schemeClr val="dk1"/>
              </a:solidFill>
            </a:endParaRPr>
          </a:p>
          <a:p>
            <a:pPr marL="914400" lvl="1" indent="-3492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Char char="○"/>
            </a:pPr>
            <a:r>
              <a:rPr lang="zh-CN" dirty="0">
                <a:solidFill>
                  <a:schemeClr val="dk1"/>
                </a:solidFill>
              </a:rPr>
              <a:t>也</a:t>
            </a:r>
            <a:r>
              <a:rPr dirty="0">
                <a:solidFill>
                  <a:schemeClr val="dk1"/>
                </a:solidFill>
              </a:rPr>
              <a:t>可以通过github或邮件列表发布</a:t>
            </a:r>
            <a:r>
              <a:rPr lang="zh-CN" dirty="0">
                <a:solidFill>
                  <a:schemeClr val="dk1"/>
                </a:solidFill>
              </a:rPr>
              <a:t>关于</a:t>
            </a:r>
            <a:r>
              <a:rPr dirty="0">
                <a:solidFill>
                  <a:schemeClr val="dk1"/>
                </a:solidFill>
              </a:rPr>
              <a:t>ivorysql网站的错误报告或功能请求</a:t>
            </a:r>
            <a:endParaRPr sz="1900" dirty="0">
              <a:solidFill>
                <a:schemeClr val="dk1"/>
              </a:solidFill>
            </a:endParaRPr>
          </a:p>
          <a:p>
            <a:pPr marL="914400" lvl="1" indent="-3492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Char char="○"/>
            </a:pPr>
            <a:endParaRPr sz="1900" dirty="0">
              <a:solidFill>
                <a:schemeClr val="dk1"/>
              </a:solidFill>
            </a:endParaRPr>
          </a:p>
        </p:txBody>
      </p:sp>
      <p:grpSp>
        <p:nvGrpSpPr>
          <p:cNvPr id="159" name="组合 158"/>
          <p:cNvGrpSpPr/>
          <p:nvPr/>
        </p:nvGrpSpPr>
        <p:grpSpPr>
          <a:xfrm>
            <a:off x="9353380" y="1364844"/>
            <a:ext cx="2564300" cy="4754991"/>
            <a:chOff x="9152720" y="1057394"/>
            <a:chExt cx="2731474" cy="5064982"/>
          </a:xfrm>
        </p:grpSpPr>
        <p:grpSp>
          <p:nvGrpSpPr>
            <p:cNvPr id="64" name="组合 63"/>
            <p:cNvGrpSpPr/>
            <p:nvPr/>
          </p:nvGrpSpPr>
          <p:grpSpPr>
            <a:xfrm>
              <a:off x="9152720" y="1084001"/>
              <a:ext cx="2731474" cy="5038375"/>
              <a:chOff x="4441824" y="1130300"/>
              <a:chExt cx="2731474" cy="5038375"/>
            </a:xfrm>
          </p:grpSpPr>
          <p:sp>
            <p:nvSpPr>
              <p:cNvPr id="65" name="íṧḻíḋê"/>
              <p:cNvSpPr/>
              <p:nvPr/>
            </p:nvSpPr>
            <p:spPr>
              <a:xfrm>
                <a:off x="4970835" y="2054793"/>
                <a:ext cx="243099" cy="380611"/>
              </a:xfrm>
              <a:custGeom>
                <a:avLst/>
                <a:gdLst>
                  <a:gd name="connsiteX0" fmla="*/ 57794 w 243099"/>
                  <a:gd name="connsiteY0" fmla="*/ 380547 h 380611"/>
                  <a:gd name="connsiteX1" fmla="*/ 60196 w 243099"/>
                  <a:gd name="connsiteY1" fmla="*/ 256030 h 380611"/>
                  <a:gd name="connsiteX2" fmla="*/ 25500 w 243099"/>
                  <a:gd name="connsiteY2" fmla="*/ 201506 h 380611"/>
                  <a:gd name="connsiteX3" fmla="*/ -1086 w 243099"/>
                  <a:gd name="connsiteY3" fmla="*/ 26070 h 380611"/>
                  <a:gd name="connsiteX4" fmla="*/ 241641 w 243099"/>
                  <a:gd name="connsiteY4" fmla="*/ -65 h 380611"/>
                  <a:gd name="connsiteX5" fmla="*/ 231878 w 243099"/>
                  <a:gd name="connsiteY5" fmla="*/ 243713 h 380611"/>
                  <a:gd name="connsiteX6" fmla="*/ 232778 w 243099"/>
                  <a:gd name="connsiteY6" fmla="*/ 367329 h 380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3099" h="380611">
                    <a:moveTo>
                      <a:pt x="57794" y="380547"/>
                    </a:moveTo>
                    <a:lnTo>
                      <a:pt x="60196" y="256030"/>
                    </a:lnTo>
                    <a:cubicBezTo>
                      <a:pt x="42924" y="242196"/>
                      <a:pt x="30757" y="223030"/>
                      <a:pt x="25500" y="201506"/>
                    </a:cubicBezTo>
                    <a:cubicBezTo>
                      <a:pt x="18291" y="167110"/>
                      <a:pt x="-1086" y="26070"/>
                      <a:pt x="-1086" y="26070"/>
                    </a:cubicBezTo>
                    <a:lnTo>
                      <a:pt x="241641" y="-65"/>
                    </a:lnTo>
                    <a:cubicBezTo>
                      <a:pt x="241641" y="-65"/>
                      <a:pt x="244945" y="198953"/>
                      <a:pt x="231878" y="243713"/>
                    </a:cubicBezTo>
                    <a:cubicBezTo>
                      <a:pt x="218810" y="288473"/>
                      <a:pt x="232778" y="367329"/>
                      <a:pt x="232778" y="367329"/>
                    </a:cubicBezTo>
                    <a:close/>
                  </a:path>
                </a:pathLst>
              </a:custGeom>
              <a:solidFill>
                <a:srgbClr val="A9543D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îS1îďè"/>
              <p:cNvSpPr/>
              <p:nvPr/>
            </p:nvSpPr>
            <p:spPr>
              <a:xfrm>
                <a:off x="5188477" y="2015986"/>
                <a:ext cx="168493" cy="287090"/>
              </a:xfrm>
              <a:custGeom>
                <a:avLst/>
                <a:gdLst>
                  <a:gd name="connsiteX0" fmla="*/ -1086 w 168493"/>
                  <a:gd name="connsiteY0" fmla="*/ 287026 h 287090"/>
                  <a:gd name="connsiteX1" fmla="*/ 126135 w 168493"/>
                  <a:gd name="connsiteY1" fmla="*/ 147338 h 287090"/>
                  <a:gd name="connsiteX2" fmla="*/ 166240 w 168493"/>
                  <a:gd name="connsiteY2" fmla="*/ 23121 h 287090"/>
                  <a:gd name="connsiteX3" fmla="*/ 158579 w 168493"/>
                  <a:gd name="connsiteY3" fmla="*/ 3595 h 287090"/>
                  <a:gd name="connsiteX4" fmla="*/ 158579 w 168493"/>
                  <a:gd name="connsiteY4" fmla="*/ 3595 h 287090"/>
                  <a:gd name="connsiteX5" fmla="*/ 117574 w 168493"/>
                  <a:gd name="connsiteY5" fmla="*/ 12306 h 287090"/>
                  <a:gd name="connsiteX6" fmla="*/ 80324 w 168493"/>
                  <a:gd name="connsiteY6" fmla="*/ 78095 h 287090"/>
                  <a:gd name="connsiteX7" fmla="*/ 8227 w 168493"/>
                  <a:gd name="connsiteY7" fmla="*/ 128112 h 287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8493" h="287090">
                    <a:moveTo>
                      <a:pt x="-1086" y="287026"/>
                    </a:moveTo>
                    <a:cubicBezTo>
                      <a:pt x="-1086" y="287026"/>
                      <a:pt x="101652" y="210272"/>
                      <a:pt x="126135" y="147338"/>
                    </a:cubicBezTo>
                    <a:cubicBezTo>
                      <a:pt x="147013" y="93866"/>
                      <a:pt x="156175" y="50157"/>
                      <a:pt x="166240" y="23121"/>
                    </a:cubicBezTo>
                    <a:cubicBezTo>
                      <a:pt x="169393" y="15611"/>
                      <a:pt x="165939" y="6944"/>
                      <a:pt x="158579" y="3595"/>
                    </a:cubicBezTo>
                    <a:lnTo>
                      <a:pt x="158579" y="3595"/>
                    </a:lnTo>
                    <a:cubicBezTo>
                      <a:pt x="144610" y="-3585"/>
                      <a:pt x="127488" y="50"/>
                      <a:pt x="117574" y="12306"/>
                    </a:cubicBezTo>
                    <a:cubicBezTo>
                      <a:pt x="102103" y="32313"/>
                      <a:pt x="89487" y="54468"/>
                      <a:pt x="80324" y="78095"/>
                    </a:cubicBezTo>
                    <a:cubicBezTo>
                      <a:pt x="72363" y="101827"/>
                      <a:pt x="8227" y="128112"/>
                      <a:pt x="8227" y="128112"/>
                    </a:cubicBezTo>
                    <a:close/>
                  </a:path>
                </a:pathLst>
              </a:custGeom>
              <a:solidFill>
                <a:srgbClr val="A9543D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" name="iśḻiḋe"/>
              <p:cNvSpPr/>
              <p:nvPr/>
            </p:nvSpPr>
            <p:spPr>
              <a:xfrm>
                <a:off x="5148223" y="1812742"/>
                <a:ext cx="73749" cy="253315"/>
              </a:xfrm>
              <a:custGeom>
                <a:avLst/>
                <a:gdLst>
                  <a:gd name="connsiteX0" fmla="*/ 64404 w 73749"/>
                  <a:gd name="connsiteY0" fmla="*/ 253251 h 253315"/>
                  <a:gd name="connsiteX1" fmla="*/ 72664 w 73749"/>
                  <a:gd name="connsiteY1" fmla="*/ 27948 h 253315"/>
                  <a:gd name="connsiteX2" fmla="*/ 44426 w 73749"/>
                  <a:gd name="connsiteY2" fmla="*/ -65 h 253315"/>
                  <a:gd name="connsiteX3" fmla="*/ 42624 w 73749"/>
                  <a:gd name="connsiteY3" fmla="*/ 11 h 253315"/>
                  <a:gd name="connsiteX4" fmla="*/ 42624 w 73749"/>
                  <a:gd name="connsiteY4" fmla="*/ 11 h 253315"/>
                  <a:gd name="connsiteX5" fmla="*/ 12583 w 73749"/>
                  <a:gd name="connsiteY5" fmla="*/ 25395 h 253315"/>
                  <a:gd name="connsiteX6" fmla="*/ -1086 w 73749"/>
                  <a:gd name="connsiteY6" fmla="*/ 253101 h 2533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3749" h="253315">
                    <a:moveTo>
                      <a:pt x="64404" y="253251"/>
                    </a:moveTo>
                    <a:lnTo>
                      <a:pt x="72664" y="27948"/>
                    </a:lnTo>
                    <a:cubicBezTo>
                      <a:pt x="72664" y="12432"/>
                      <a:pt x="60048" y="-110"/>
                      <a:pt x="44426" y="-65"/>
                    </a:cubicBezTo>
                    <a:cubicBezTo>
                      <a:pt x="43826" y="-50"/>
                      <a:pt x="43225" y="-35"/>
                      <a:pt x="42624" y="11"/>
                    </a:cubicBezTo>
                    <a:lnTo>
                      <a:pt x="42624" y="11"/>
                    </a:lnTo>
                    <a:cubicBezTo>
                      <a:pt x="27453" y="-801"/>
                      <a:pt x="14235" y="10314"/>
                      <a:pt x="12583" y="25395"/>
                    </a:cubicBezTo>
                    <a:lnTo>
                      <a:pt x="-1086" y="253101"/>
                    </a:lnTo>
                    <a:close/>
                  </a:path>
                </a:pathLst>
              </a:custGeom>
              <a:solidFill>
                <a:srgbClr val="A9543D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8" name="ísľîḓê"/>
              <p:cNvSpPr/>
              <p:nvPr/>
            </p:nvSpPr>
            <p:spPr>
              <a:xfrm>
                <a:off x="5072624" y="1801725"/>
                <a:ext cx="76199" cy="275448"/>
              </a:xfrm>
              <a:custGeom>
                <a:avLst/>
                <a:gdLst>
                  <a:gd name="connsiteX0" fmla="*/ 75114 w 76199"/>
                  <a:gd name="connsiteY0" fmla="*/ 266522 h 275448"/>
                  <a:gd name="connsiteX1" fmla="*/ 58292 w 76199"/>
                  <a:gd name="connsiteY1" fmla="*/ 27400 h 275448"/>
                  <a:gd name="connsiteX2" fmla="*/ 25847 w 76199"/>
                  <a:gd name="connsiteY2" fmla="*/ 48 h 275448"/>
                  <a:gd name="connsiteX3" fmla="*/ 25549 w 76199"/>
                  <a:gd name="connsiteY3" fmla="*/ 63 h 275448"/>
                  <a:gd name="connsiteX4" fmla="*/ 25549 w 76199"/>
                  <a:gd name="connsiteY4" fmla="*/ 63 h 275448"/>
                  <a:gd name="connsiteX5" fmla="*/ -1037 w 76199"/>
                  <a:gd name="connsiteY5" fmla="*/ 30104 h 275448"/>
                  <a:gd name="connsiteX6" fmla="*/ 13983 w 76199"/>
                  <a:gd name="connsiteY6" fmla="*/ 275384 h 275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6199" h="275448">
                    <a:moveTo>
                      <a:pt x="75114" y="266522"/>
                    </a:moveTo>
                    <a:lnTo>
                      <a:pt x="58292" y="27400"/>
                    </a:lnTo>
                    <a:cubicBezTo>
                      <a:pt x="56940" y="10863"/>
                      <a:pt x="42371" y="-1379"/>
                      <a:pt x="25847" y="48"/>
                    </a:cubicBezTo>
                    <a:cubicBezTo>
                      <a:pt x="25697" y="48"/>
                      <a:pt x="25697" y="48"/>
                      <a:pt x="25549" y="63"/>
                    </a:cubicBezTo>
                    <a:lnTo>
                      <a:pt x="25549" y="63"/>
                    </a:lnTo>
                    <a:cubicBezTo>
                      <a:pt x="9927" y="1115"/>
                      <a:pt x="-1940" y="14498"/>
                      <a:pt x="-1037" y="30104"/>
                    </a:cubicBezTo>
                    <a:lnTo>
                      <a:pt x="13983" y="275384"/>
                    </a:lnTo>
                    <a:close/>
                  </a:path>
                </a:pathLst>
              </a:custGeom>
              <a:solidFill>
                <a:srgbClr val="A9543D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" name="îś1íḓe"/>
              <p:cNvSpPr/>
              <p:nvPr/>
            </p:nvSpPr>
            <p:spPr>
              <a:xfrm>
                <a:off x="4979223" y="1848365"/>
                <a:ext cx="109068" cy="241425"/>
              </a:xfrm>
              <a:custGeom>
                <a:avLst/>
                <a:gdLst>
                  <a:gd name="connsiteX0" fmla="*/ 107983 w 109068"/>
                  <a:gd name="connsiteY0" fmla="*/ 224087 h 241425"/>
                  <a:gd name="connsiteX1" fmla="*/ 57365 w 109068"/>
                  <a:gd name="connsiteY1" fmla="*/ 19512 h 241425"/>
                  <a:gd name="connsiteX2" fmla="*/ 21168 w 109068"/>
                  <a:gd name="connsiteY2" fmla="*/ 1037 h 241425"/>
                  <a:gd name="connsiteX3" fmla="*/ 21168 w 109068"/>
                  <a:gd name="connsiteY3" fmla="*/ 1037 h 241425"/>
                  <a:gd name="connsiteX4" fmla="*/ -763 w 109068"/>
                  <a:gd name="connsiteY4" fmla="*/ 31048 h 241425"/>
                  <a:gd name="connsiteX5" fmla="*/ -763 w 109068"/>
                  <a:gd name="connsiteY5" fmla="*/ 31078 h 241425"/>
                  <a:gd name="connsiteX6" fmla="*/ 48955 w 109068"/>
                  <a:gd name="connsiteY6" fmla="*/ 241360 h 241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9068" h="241425">
                    <a:moveTo>
                      <a:pt x="107983" y="224087"/>
                    </a:moveTo>
                    <a:lnTo>
                      <a:pt x="57365" y="19512"/>
                    </a:lnTo>
                    <a:cubicBezTo>
                      <a:pt x="51958" y="4882"/>
                      <a:pt x="36188" y="-3138"/>
                      <a:pt x="21168" y="1037"/>
                    </a:cubicBezTo>
                    <a:lnTo>
                      <a:pt x="21168" y="1037"/>
                    </a:lnTo>
                    <a:cubicBezTo>
                      <a:pt x="6747" y="3275"/>
                      <a:pt x="-3014" y="16703"/>
                      <a:pt x="-763" y="31048"/>
                    </a:cubicBezTo>
                    <a:cubicBezTo>
                      <a:pt x="-763" y="31063"/>
                      <a:pt x="-763" y="31063"/>
                      <a:pt x="-763" y="31078"/>
                    </a:cubicBezTo>
                    <a:lnTo>
                      <a:pt x="48955" y="241360"/>
                    </a:lnTo>
                    <a:close/>
                  </a:path>
                </a:pathLst>
              </a:custGeom>
              <a:solidFill>
                <a:srgbClr val="A9543D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" name="ïS1îḋè"/>
              <p:cNvSpPr/>
              <p:nvPr/>
            </p:nvSpPr>
            <p:spPr>
              <a:xfrm>
                <a:off x="4917575" y="1921268"/>
                <a:ext cx="105830" cy="181589"/>
              </a:xfrm>
              <a:custGeom>
                <a:avLst/>
                <a:gdLst>
                  <a:gd name="connsiteX0" fmla="*/ 104745 w 105830"/>
                  <a:gd name="connsiteY0" fmla="*/ 162599 h 181589"/>
                  <a:gd name="connsiteX1" fmla="*/ 44665 w 105830"/>
                  <a:gd name="connsiteY1" fmla="*/ 12397 h 181589"/>
                  <a:gd name="connsiteX2" fmla="*/ 14624 w 105830"/>
                  <a:gd name="connsiteY2" fmla="*/ 1883 h 181589"/>
                  <a:gd name="connsiteX3" fmla="*/ 14624 w 105830"/>
                  <a:gd name="connsiteY3" fmla="*/ 1883 h 181589"/>
                  <a:gd name="connsiteX4" fmla="*/ -546 w 105830"/>
                  <a:gd name="connsiteY4" fmla="*/ 26186 h 181589"/>
                  <a:gd name="connsiteX5" fmla="*/ -396 w 105830"/>
                  <a:gd name="connsiteY5" fmla="*/ 26967 h 181589"/>
                  <a:gd name="connsiteX6" fmla="*/ 59685 w 105830"/>
                  <a:gd name="connsiteY6" fmla="*/ 181525 h 181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5830" h="181589">
                    <a:moveTo>
                      <a:pt x="104745" y="162599"/>
                    </a:moveTo>
                    <a:lnTo>
                      <a:pt x="44665" y="12397"/>
                    </a:lnTo>
                    <a:cubicBezTo>
                      <a:pt x="38957" y="1583"/>
                      <a:pt x="25889" y="-2998"/>
                      <a:pt x="14624" y="1883"/>
                    </a:cubicBezTo>
                    <a:lnTo>
                      <a:pt x="14624" y="1883"/>
                    </a:lnTo>
                    <a:cubicBezTo>
                      <a:pt x="3660" y="4392"/>
                      <a:pt x="-3101" y="15281"/>
                      <a:pt x="-546" y="26186"/>
                    </a:cubicBezTo>
                    <a:cubicBezTo>
                      <a:pt x="-546" y="26456"/>
                      <a:pt x="-396" y="26712"/>
                      <a:pt x="-396" y="26967"/>
                    </a:cubicBezTo>
                    <a:lnTo>
                      <a:pt x="59685" y="181525"/>
                    </a:lnTo>
                    <a:close/>
                  </a:path>
                </a:pathLst>
              </a:custGeom>
              <a:solidFill>
                <a:srgbClr val="A9543D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" name="i$ļîḑé"/>
              <p:cNvSpPr/>
              <p:nvPr/>
            </p:nvSpPr>
            <p:spPr>
              <a:xfrm>
                <a:off x="4991101" y="2053331"/>
                <a:ext cx="194679" cy="35725"/>
              </a:xfrm>
              <a:custGeom>
                <a:avLst/>
                <a:gdLst>
                  <a:gd name="connsiteX0" fmla="*/ 4031 w 194679"/>
                  <a:gd name="connsiteY0" fmla="*/ 35643 h 35725"/>
                  <a:gd name="connsiteX1" fmla="*/ -1075 w 194679"/>
                  <a:gd name="connsiteY1" fmla="*/ 31393 h 35725"/>
                  <a:gd name="connsiteX2" fmla="*/ 2529 w 194679"/>
                  <a:gd name="connsiteY2" fmla="*/ 26481 h 35725"/>
                  <a:gd name="connsiteX3" fmla="*/ 189231 w 194679"/>
                  <a:gd name="connsiteY3" fmla="*/ 196 h 35725"/>
                  <a:gd name="connsiteX4" fmla="*/ 193586 w 194679"/>
                  <a:gd name="connsiteY4" fmla="*/ 5122 h 35725"/>
                  <a:gd name="connsiteX5" fmla="*/ 193586 w 194679"/>
                  <a:gd name="connsiteY5" fmla="*/ 5302 h 35725"/>
                  <a:gd name="connsiteX6" fmla="*/ 188630 w 194679"/>
                  <a:gd name="connsiteY6" fmla="*/ 9658 h 35725"/>
                  <a:gd name="connsiteX7" fmla="*/ 188630 w 194679"/>
                  <a:gd name="connsiteY7" fmla="*/ 9658 h 35725"/>
                  <a:gd name="connsiteX8" fmla="*/ 5384 w 194679"/>
                  <a:gd name="connsiteY8" fmla="*/ 35493 h 3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4679" h="35725">
                    <a:moveTo>
                      <a:pt x="4031" y="35643"/>
                    </a:moveTo>
                    <a:cubicBezTo>
                      <a:pt x="1479" y="35868"/>
                      <a:pt x="-775" y="33961"/>
                      <a:pt x="-1075" y="31393"/>
                    </a:cubicBezTo>
                    <a:cubicBezTo>
                      <a:pt x="-1226" y="29109"/>
                      <a:pt x="276" y="27022"/>
                      <a:pt x="2529" y="26481"/>
                    </a:cubicBezTo>
                    <a:cubicBezTo>
                      <a:pt x="62761" y="7150"/>
                      <a:pt x="125995" y="-1742"/>
                      <a:pt x="189231" y="196"/>
                    </a:cubicBezTo>
                    <a:cubicBezTo>
                      <a:pt x="191784" y="346"/>
                      <a:pt x="193736" y="2554"/>
                      <a:pt x="193586" y="5122"/>
                    </a:cubicBezTo>
                    <a:cubicBezTo>
                      <a:pt x="193586" y="5182"/>
                      <a:pt x="193586" y="5242"/>
                      <a:pt x="193586" y="5302"/>
                    </a:cubicBezTo>
                    <a:cubicBezTo>
                      <a:pt x="193437" y="7871"/>
                      <a:pt x="191184" y="9823"/>
                      <a:pt x="188630" y="9658"/>
                    </a:cubicBezTo>
                    <a:cubicBezTo>
                      <a:pt x="188630" y="9658"/>
                      <a:pt x="188630" y="9658"/>
                      <a:pt x="188630" y="9658"/>
                    </a:cubicBezTo>
                    <a:cubicBezTo>
                      <a:pt x="126596" y="7781"/>
                      <a:pt x="64563" y="16507"/>
                      <a:pt x="5384" y="35493"/>
                    </a:cubicBezTo>
                    <a:close/>
                  </a:path>
                </a:pathLst>
              </a:custGeom>
              <a:solidFill>
                <a:srgbClr val="000000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2" name="ïṥľíḍé"/>
              <p:cNvSpPr/>
              <p:nvPr/>
            </p:nvSpPr>
            <p:spPr>
              <a:xfrm>
                <a:off x="5686397" y="2059299"/>
                <a:ext cx="450455" cy="499872"/>
              </a:xfrm>
              <a:custGeom>
                <a:avLst/>
                <a:gdLst>
                  <a:gd name="connsiteX0" fmla="*/ 0 w 450455"/>
                  <a:gd name="connsiteY0" fmla="*/ 216741 h 499872"/>
                  <a:gd name="connsiteX1" fmla="*/ 130526 w 450455"/>
                  <a:gd name="connsiteY1" fmla="*/ 186701 h 499872"/>
                  <a:gd name="connsiteX2" fmla="*/ 130526 w 450455"/>
                  <a:gd name="connsiteY2" fmla="*/ 0 h 499872"/>
                  <a:gd name="connsiteX3" fmla="*/ 299653 w 450455"/>
                  <a:gd name="connsiteY3" fmla="*/ 0 h 499872"/>
                  <a:gd name="connsiteX4" fmla="*/ 299653 w 450455"/>
                  <a:gd name="connsiteY4" fmla="*/ 177989 h 499872"/>
                  <a:gd name="connsiteX5" fmla="*/ 450456 w 450455"/>
                  <a:gd name="connsiteY5" fmla="*/ 222750 h 499872"/>
                  <a:gd name="connsiteX6" fmla="*/ 215089 w 450455"/>
                  <a:gd name="connsiteY6" fmla="*/ 499872 h 499872"/>
                  <a:gd name="connsiteX7" fmla="*/ 0 w 450455"/>
                  <a:gd name="connsiteY7" fmla="*/ 216741 h 499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50455" h="499872">
                    <a:moveTo>
                      <a:pt x="0" y="216741"/>
                    </a:moveTo>
                    <a:lnTo>
                      <a:pt x="130526" y="186701"/>
                    </a:lnTo>
                    <a:lnTo>
                      <a:pt x="130526" y="0"/>
                    </a:lnTo>
                    <a:lnTo>
                      <a:pt x="299653" y="0"/>
                    </a:lnTo>
                    <a:lnTo>
                      <a:pt x="299653" y="177989"/>
                    </a:lnTo>
                    <a:lnTo>
                      <a:pt x="450456" y="222750"/>
                    </a:lnTo>
                    <a:lnTo>
                      <a:pt x="215089" y="499872"/>
                    </a:lnTo>
                    <a:lnTo>
                      <a:pt x="0" y="216741"/>
                    </a:lnTo>
                    <a:close/>
                  </a:path>
                </a:pathLst>
              </a:custGeom>
              <a:solidFill>
                <a:srgbClr val="A9543D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3" name="íśḻïďe"/>
              <p:cNvSpPr/>
              <p:nvPr/>
            </p:nvSpPr>
            <p:spPr>
              <a:xfrm>
                <a:off x="5816922" y="2059749"/>
                <a:ext cx="169127" cy="131304"/>
              </a:xfrm>
              <a:custGeom>
                <a:avLst/>
                <a:gdLst>
                  <a:gd name="connsiteX0" fmla="*/ 168042 w 169127"/>
                  <a:gd name="connsiteY0" fmla="*/ 75036 h 131304"/>
                  <a:gd name="connsiteX1" fmla="*/ 168042 w 169127"/>
                  <a:gd name="connsiteY1" fmla="*/ -65 h 131304"/>
                  <a:gd name="connsiteX2" fmla="*/ -1086 w 169127"/>
                  <a:gd name="connsiteY2" fmla="*/ -65 h 131304"/>
                  <a:gd name="connsiteX3" fmla="*/ -1086 w 169127"/>
                  <a:gd name="connsiteY3" fmla="*/ 113037 h 131304"/>
                  <a:gd name="connsiteX4" fmla="*/ 168042 w 169127"/>
                  <a:gd name="connsiteY4" fmla="*/ 75036 h 131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9127" h="131304">
                    <a:moveTo>
                      <a:pt x="168042" y="75036"/>
                    </a:moveTo>
                    <a:lnTo>
                      <a:pt x="168042" y="-65"/>
                    </a:lnTo>
                    <a:lnTo>
                      <a:pt x="-1086" y="-65"/>
                    </a:lnTo>
                    <a:lnTo>
                      <a:pt x="-1086" y="113037"/>
                    </a:lnTo>
                    <a:cubicBezTo>
                      <a:pt x="54641" y="158248"/>
                      <a:pt x="128388" y="109132"/>
                      <a:pt x="168042" y="7503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4" name="ïṣ1iḑê"/>
              <p:cNvSpPr/>
              <p:nvPr/>
            </p:nvSpPr>
            <p:spPr>
              <a:xfrm>
                <a:off x="6003022" y="4374212"/>
                <a:ext cx="386920" cy="1456809"/>
              </a:xfrm>
              <a:custGeom>
                <a:avLst/>
                <a:gdLst>
                  <a:gd name="connsiteX0" fmla="*/ 385835 w 386920"/>
                  <a:gd name="connsiteY0" fmla="*/ 11350 h 1456809"/>
                  <a:gd name="connsiteX1" fmla="*/ 376522 w 386920"/>
                  <a:gd name="connsiteY1" fmla="*/ 564545 h 1456809"/>
                  <a:gd name="connsiteX2" fmla="*/ 339423 w 386920"/>
                  <a:gd name="connsiteY2" fmla="*/ 1456744 h 1456809"/>
                  <a:gd name="connsiteX3" fmla="*/ 134096 w 386920"/>
                  <a:gd name="connsiteY3" fmla="*/ 1449084 h 1456809"/>
                  <a:gd name="connsiteX4" fmla="*/ -1086 w 386920"/>
                  <a:gd name="connsiteY4" fmla="*/ -65 h 1456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6920" h="1456809">
                    <a:moveTo>
                      <a:pt x="385835" y="11350"/>
                    </a:moveTo>
                    <a:cubicBezTo>
                      <a:pt x="385835" y="11350"/>
                      <a:pt x="367360" y="381448"/>
                      <a:pt x="376522" y="564545"/>
                    </a:cubicBezTo>
                    <a:cubicBezTo>
                      <a:pt x="385684" y="747641"/>
                      <a:pt x="367060" y="1283712"/>
                      <a:pt x="339423" y="1456744"/>
                    </a:cubicBezTo>
                    <a:lnTo>
                      <a:pt x="134096" y="1449084"/>
                    </a:lnTo>
                    <a:cubicBezTo>
                      <a:pt x="134096" y="1449084"/>
                      <a:pt x="53889" y="263840"/>
                      <a:pt x="-1086" y="-65"/>
                    </a:cubicBezTo>
                    <a:close/>
                  </a:path>
                </a:pathLst>
              </a:custGeom>
              <a:solidFill>
                <a:srgbClr val="A9543D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5" name="îslïďê"/>
              <p:cNvSpPr/>
              <p:nvPr/>
            </p:nvSpPr>
            <p:spPr>
              <a:xfrm>
                <a:off x="6123485" y="5614280"/>
                <a:ext cx="241074" cy="216741"/>
              </a:xfrm>
              <a:custGeom>
                <a:avLst/>
                <a:gdLst>
                  <a:gd name="connsiteX0" fmla="*/ -1086 w 241074"/>
                  <a:gd name="connsiteY0" fmla="*/ -65 h 216741"/>
                  <a:gd name="connsiteX1" fmla="*/ 13935 w 241074"/>
                  <a:gd name="connsiteY1" fmla="*/ 209016 h 216741"/>
                  <a:gd name="connsiteX2" fmla="*/ 219261 w 241074"/>
                  <a:gd name="connsiteY2" fmla="*/ 216677 h 216741"/>
                  <a:gd name="connsiteX3" fmla="*/ 239989 w 241074"/>
                  <a:gd name="connsiteY3" fmla="*/ -65 h 216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1074" h="216741">
                    <a:moveTo>
                      <a:pt x="-1086" y="-65"/>
                    </a:moveTo>
                    <a:cubicBezTo>
                      <a:pt x="8076" y="126405"/>
                      <a:pt x="13935" y="209016"/>
                      <a:pt x="13935" y="209016"/>
                    </a:cubicBezTo>
                    <a:lnTo>
                      <a:pt x="219261" y="216677"/>
                    </a:lnTo>
                    <a:cubicBezTo>
                      <a:pt x="226922" y="168011"/>
                      <a:pt x="234282" y="90357"/>
                      <a:pt x="239989" y="-65"/>
                    </a:cubicBezTo>
                    <a:close/>
                  </a:path>
                </a:pathLst>
              </a:custGeom>
              <a:solidFill>
                <a:srgbClr val="FFFFFF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6" name="íṩ1îďe"/>
              <p:cNvSpPr/>
              <p:nvPr/>
            </p:nvSpPr>
            <p:spPr>
              <a:xfrm>
                <a:off x="6117921" y="5608723"/>
                <a:ext cx="251768" cy="228006"/>
              </a:xfrm>
              <a:custGeom>
                <a:avLst/>
                <a:gdLst>
                  <a:gd name="connsiteX0" fmla="*/ 224525 w 251768"/>
                  <a:gd name="connsiteY0" fmla="*/ 227942 h 228006"/>
                  <a:gd name="connsiteX1" fmla="*/ 224525 w 251768"/>
                  <a:gd name="connsiteY1" fmla="*/ 227942 h 228006"/>
                  <a:gd name="connsiteX2" fmla="*/ 19348 w 251768"/>
                  <a:gd name="connsiteY2" fmla="*/ 220281 h 228006"/>
                  <a:gd name="connsiteX3" fmla="*/ 13941 w 251768"/>
                  <a:gd name="connsiteY3" fmla="*/ 215024 h 228006"/>
                  <a:gd name="connsiteX4" fmla="*/ -1079 w 251768"/>
                  <a:gd name="connsiteY4" fmla="*/ 5943 h 228006"/>
                  <a:gd name="connsiteX5" fmla="*/ 4328 w 251768"/>
                  <a:gd name="connsiteY5" fmla="*/ -50 h 228006"/>
                  <a:gd name="connsiteX6" fmla="*/ 4629 w 251768"/>
                  <a:gd name="connsiteY6" fmla="*/ -65 h 228006"/>
                  <a:gd name="connsiteX7" fmla="*/ 244952 w 251768"/>
                  <a:gd name="connsiteY7" fmla="*/ -65 h 228006"/>
                  <a:gd name="connsiteX8" fmla="*/ 249158 w 251768"/>
                  <a:gd name="connsiteY8" fmla="*/ 1738 h 228006"/>
                  <a:gd name="connsiteX9" fmla="*/ 250660 w 251768"/>
                  <a:gd name="connsiteY9" fmla="*/ 5943 h 228006"/>
                  <a:gd name="connsiteX10" fmla="*/ 229781 w 251768"/>
                  <a:gd name="connsiteY10" fmla="*/ 223135 h 228006"/>
                  <a:gd name="connsiteX11" fmla="*/ 224525 w 251768"/>
                  <a:gd name="connsiteY11" fmla="*/ 227942 h 228006"/>
                  <a:gd name="connsiteX12" fmla="*/ 25206 w 251768"/>
                  <a:gd name="connsiteY12" fmla="*/ 209166 h 228006"/>
                  <a:gd name="connsiteX13" fmla="*/ 220469 w 251768"/>
                  <a:gd name="connsiteY13" fmla="*/ 216376 h 228006"/>
                  <a:gd name="connsiteX14" fmla="*/ 240146 w 251768"/>
                  <a:gd name="connsiteY14" fmla="*/ 11200 h 228006"/>
                  <a:gd name="connsiteX15" fmla="*/ 10186 w 251768"/>
                  <a:gd name="connsiteY15" fmla="*/ 11200 h 228006"/>
                  <a:gd name="connsiteX16" fmla="*/ 25206 w 251768"/>
                  <a:gd name="connsiteY16" fmla="*/ 209166 h 228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51768" h="228006">
                    <a:moveTo>
                      <a:pt x="224525" y="227942"/>
                    </a:moveTo>
                    <a:lnTo>
                      <a:pt x="224525" y="227942"/>
                    </a:lnTo>
                    <a:lnTo>
                      <a:pt x="19348" y="220281"/>
                    </a:lnTo>
                    <a:cubicBezTo>
                      <a:pt x="16495" y="220206"/>
                      <a:pt x="14092" y="217923"/>
                      <a:pt x="13941" y="215024"/>
                    </a:cubicBezTo>
                    <a:cubicBezTo>
                      <a:pt x="13941" y="215024"/>
                      <a:pt x="8233" y="130911"/>
                      <a:pt x="-1079" y="5943"/>
                    </a:cubicBezTo>
                    <a:cubicBezTo>
                      <a:pt x="-1229" y="2789"/>
                      <a:pt x="1174" y="115"/>
                      <a:pt x="4328" y="-50"/>
                    </a:cubicBezTo>
                    <a:cubicBezTo>
                      <a:pt x="4478" y="-65"/>
                      <a:pt x="4478" y="-65"/>
                      <a:pt x="4629" y="-65"/>
                    </a:cubicBezTo>
                    <a:lnTo>
                      <a:pt x="244952" y="-65"/>
                    </a:lnTo>
                    <a:cubicBezTo>
                      <a:pt x="246604" y="-65"/>
                      <a:pt x="248106" y="596"/>
                      <a:pt x="249158" y="1738"/>
                    </a:cubicBezTo>
                    <a:cubicBezTo>
                      <a:pt x="250209" y="2879"/>
                      <a:pt x="250810" y="4396"/>
                      <a:pt x="250660" y="5943"/>
                    </a:cubicBezTo>
                    <a:cubicBezTo>
                      <a:pt x="244351" y="102223"/>
                      <a:pt x="237141" y="177324"/>
                      <a:pt x="229781" y="223135"/>
                    </a:cubicBezTo>
                    <a:cubicBezTo>
                      <a:pt x="229330" y="225764"/>
                      <a:pt x="227227" y="227762"/>
                      <a:pt x="224525" y="227942"/>
                    </a:cubicBezTo>
                    <a:close/>
                    <a:moveTo>
                      <a:pt x="25206" y="209166"/>
                    </a:moveTo>
                    <a:lnTo>
                      <a:pt x="220469" y="216376"/>
                    </a:lnTo>
                    <a:cubicBezTo>
                      <a:pt x="227378" y="171315"/>
                      <a:pt x="234138" y="100871"/>
                      <a:pt x="240146" y="11200"/>
                    </a:cubicBezTo>
                    <a:lnTo>
                      <a:pt x="10186" y="11200"/>
                    </a:lnTo>
                    <a:cubicBezTo>
                      <a:pt x="18147" y="115590"/>
                      <a:pt x="23254" y="189640"/>
                      <a:pt x="25206" y="20916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7" name="íṧļïďe"/>
              <p:cNvSpPr/>
              <p:nvPr/>
            </p:nvSpPr>
            <p:spPr>
              <a:xfrm>
                <a:off x="5350396" y="4281237"/>
                <a:ext cx="406445" cy="1494359"/>
              </a:xfrm>
              <a:custGeom>
                <a:avLst/>
                <a:gdLst>
                  <a:gd name="connsiteX0" fmla="*/ 405360 w 406445"/>
                  <a:gd name="connsiteY0" fmla="*/ 13303 h 1494359"/>
                  <a:gd name="connsiteX1" fmla="*/ 375320 w 406445"/>
                  <a:gd name="connsiteY1" fmla="*/ 571904 h 1494359"/>
                  <a:gd name="connsiteX2" fmla="*/ 230976 w 406445"/>
                  <a:gd name="connsiteY2" fmla="*/ 1494295 h 1494359"/>
                  <a:gd name="connsiteX3" fmla="*/ -1086 w 406445"/>
                  <a:gd name="connsiteY3" fmla="*/ 1464254 h 1494359"/>
                  <a:gd name="connsiteX4" fmla="*/ 57042 w 406445"/>
                  <a:gd name="connsiteY4" fmla="*/ -65 h 1494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6445" h="1494359">
                    <a:moveTo>
                      <a:pt x="405360" y="13303"/>
                    </a:moveTo>
                    <a:cubicBezTo>
                      <a:pt x="405360" y="13303"/>
                      <a:pt x="360299" y="377393"/>
                      <a:pt x="375320" y="571904"/>
                    </a:cubicBezTo>
                    <a:cubicBezTo>
                      <a:pt x="390340" y="766416"/>
                      <a:pt x="258612" y="1314954"/>
                      <a:pt x="230976" y="1494295"/>
                    </a:cubicBezTo>
                    <a:lnTo>
                      <a:pt x="-1086" y="1464254"/>
                    </a:lnTo>
                    <a:cubicBezTo>
                      <a:pt x="-1086" y="1464254"/>
                      <a:pt x="36465" y="197000"/>
                      <a:pt x="57042" y="-65"/>
                    </a:cubicBezTo>
                    <a:close/>
                  </a:path>
                </a:pathLst>
              </a:custGeom>
              <a:solidFill>
                <a:srgbClr val="A9543D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8" name="í$ḻíďè"/>
              <p:cNvSpPr/>
              <p:nvPr/>
            </p:nvSpPr>
            <p:spPr>
              <a:xfrm>
                <a:off x="5349794" y="5544135"/>
                <a:ext cx="269762" cy="231161"/>
              </a:xfrm>
              <a:custGeom>
                <a:avLst/>
                <a:gdLst>
                  <a:gd name="connsiteX0" fmla="*/ 5073 w 269762"/>
                  <a:gd name="connsiteY0" fmla="*/ -65 h 231161"/>
                  <a:gd name="connsiteX1" fmla="*/ -1086 w 269762"/>
                  <a:gd name="connsiteY1" fmla="*/ 201056 h 231161"/>
                  <a:gd name="connsiteX2" fmla="*/ 230978 w 269762"/>
                  <a:gd name="connsiteY2" fmla="*/ 231096 h 231161"/>
                  <a:gd name="connsiteX3" fmla="*/ 268677 w 269762"/>
                  <a:gd name="connsiteY3" fmla="*/ 30727 h 231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9762" h="231161">
                    <a:moveTo>
                      <a:pt x="5073" y="-65"/>
                    </a:moveTo>
                    <a:cubicBezTo>
                      <a:pt x="1168" y="121899"/>
                      <a:pt x="-1086" y="201056"/>
                      <a:pt x="-1086" y="201056"/>
                    </a:cubicBezTo>
                    <a:lnTo>
                      <a:pt x="230978" y="231096"/>
                    </a:lnTo>
                    <a:cubicBezTo>
                      <a:pt x="238187" y="184834"/>
                      <a:pt x="252155" y="113789"/>
                      <a:pt x="268677" y="30727"/>
                    </a:cubicBezTo>
                    <a:close/>
                  </a:path>
                </a:pathLst>
              </a:custGeom>
              <a:solidFill>
                <a:srgbClr val="FFFFFF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9" name="íşlïḓé"/>
              <p:cNvSpPr/>
              <p:nvPr/>
            </p:nvSpPr>
            <p:spPr>
              <a:xfrm>
                <a:off x="5344831" y="5538691"/>
                <a:ext cx="281147" cy="242662"/>
              </a:xfrm>
              <a:custGeom>
                <a:avLst/>
                <a:gdLst>
                  <a:gd name="connsiteX0" fmla="*/ 235941 w 281147"/>
                  <a:gd name="connsiteY0" fmla="*/ 242548 h 242662"/>
                  <a:gd name="connsiteX1" fmla="*/ 235941 w 281147"/>
                  <a:gd name="connsiteY1" fmla="*/ 242548 h 242662"/>
                  <a:gd name="connsiteX2" fmla="*/ 3877 w 281147"/>
                  <a:gd name="connsiteY2" fmla="*/ 212508 h 242662"/>
                  <a:gd name="connsiteX3" fmla="*/ -1079 w 281147"/>
                  <a:gd name="connsiteY3" fmla="*/ 206650 h 242662"/>
                  <a:gd name="connsiteX4" fmla="*/ 5078 w 281147"/>
                  <a:gd name="connsiteY4" fmla="*/ 5530 h 242662"/>
                  <a:gd name="connsiteX5" fmla="*/ 7031 w 281147"/>
                  <a:gd name="connsiteY5" fmla="*/ 1324 h 242662"/>
                  <a:gd name="connsiteX6" fmla="*/ 11538 w 281147"/>
                  <a:gd name="connsiteY6" fmla="*/ -28 h 242662"/>
                  <a:gd name="connsiteX7" fmla="*/ 274993 w 281147"/>
                  <a:gd name="connsiteY7" fmla="*/ 31214 h 242662"/>
                  <a:gd name="connsiteX8" fmla="*/ 279049 w 281147"/>
                  <a:gd name="connsiteY8" fmla="*/ 33467 h 242662"/>
                  <a:gd name="connsiteX9" fmla="*/ 279949 w 281147"/>
                  <a:gd name="connsiteY9" fmla="*/ 37973 h 242662"/>
                  <a:gd name="connsiteX10" fmla="*/ 242398 w 281147"/>
                  <a:gd name="connsiteY10" fmla="*/ 238043 h 242662"/>
                  <a:gd name="connsiteX11" fmla="*/ 235941 w 281147"/>
                  <a:gd name="connsiteY11" fmla="*/ 242548 h 242662"/>
                  <a:gd name="connsiteX12" fmla="*/ 9736 w 281147"/>
                  <a:gd name="connsiteY12" fmla="*/ 201543 h 242662"/>
                  <a:gd name="connsiteX13" fmla="*/ 231283 w 281147"/>
                  <a:gd name="connsiteY13" fmla="*/ 230532 h 242662"/>
                  <a:gd name="connsiteX14" fmla="*/ 266881 w 281147"/>
                  <a:gd name="connsiteY14" fmla="*/ 41428 h 242662"/>
                  <a:gd name="connsiteX15" fmla="*/ 15594 w 281147"/>
                  <a:gd name="connsiteY15" fmla="*/ 11387 h 242662"/>
                  <a:gd name="connsiteX16" fmla="*/ 9736 w 281147"/>
                  <a:gd name="connsiteY16" fmla="*/ 201543 h 242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81147" h="242662">
                    <a:moveTo>
                      <a:pt x="235941" y="242548"/>
                    </a:moveTo>
                    <a:lnTo>
                      <a:pt x="235941" y="242548"/>
                    </a:lnTo>
                    <a:lnTo>
                      <a:pt x="3877" y="212508"/>
                    </a:lnTo>
                    <a:cubicBezTo>
                      <a:pt x="1024" y="212117"/>
                      <a:pt x="-1229" y="209594"/>
                      <a:pt x="-1079" y="206650"/>
                    </a:cubicBezTo>
                    <a:cubicBezTo>
                      <a:pt x="-1079" y="206650"/>
                      <a:pt x="1323" y="125992"/>
                      <a:pt x="5078" y="5530"/>
                    </a:cubicBezTo>
                    <a:cubicBezTo>
                      <a:pt x="5229" y="3923"/>
                      <a:pt x="5830" y="2420"/>
                      <a:pt x="7031" y="1324"/>
                    </a:cubicBezTo>
                    <a:cubicBezTo>
                      <a:pt x="8234" y="273"/>
                      <a:pt x="9886" y="-208"/>
                      <a:pt x="11538" y="-28"/>
                    </a:cubicBezTo>
                    <a:lnTo>
                      <a:pt x="274993" y="31214"/>
                    </a:lnTo>
                    <a:cubicBezTo>
                      <a:pt x="276645" y="31409"/>
                      <a:pt x="277996" y="32221"/>
                      <a:pt x="279049" y="33467"/>
                    </a:cubicBezTo>
                    <a:cubicBezTo>
                      <a:pt x="279949" y="34789"/>
                      <a:pt x="280249" y="36411"/>
                      <a:pt x="279949" y="37973"/>
                    </a:cubicBezTo>
                    <a:cubicBezTo>
                      <a:pt x="263577" y="119984"/>
                      <a:pt x="249908" y="191630"/>
                      <a:pt x="242398" y="238043"/>
                    </a:cubicBezTo>
                    <a:cubicBezTo>
                      <a:pt x="241797" y="240986"/>
                      <a:pt x="238944" y="242939"/>
                      <a:pt x="235941" y="242548"/>
                    </a:cubicBezTo>
                    <a:close/>
                    <a:moveTo>
                      <a:pt x="9736" y="201543"/>
                    </a:moveTo>
                    <a:lnTo>
                      <a:pt x="231283" y="230532"/>
                    </a:lnTo>
                    <a:cubicBezTo>
                      <a:pt x="238343" y="185472"/>
                      <a:pt x="251560" y="117881"/>
                      <a:pt x="266881" y="41428"/>
                    </a:cubicBezTo>
                    <a:lnTo>
                      <a:pt x="15594" y="11387"/>
                    </a:lnTo>
                    <a:cubicBezTo>
                      <a:pt x="12440" y="111723"/>
                      <a:pt x="10187" y="182468"/>
                      <a:pt x="9736" y="201543"/>
                    </a:cubicBezTo>
                    <a:close/>
                  </a:path>
                </a:pathLst>
              </a:custGeom>
              <a:solidFill>
                <a:srgbClr val="000000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0" name="íSļîďè"/>
              <p:cNvSpPr/>
              <p:nvPr/>
            </p:nvSpPr>
            <p:spPr>
              <a:xfrm>
                <a:off x="5279171" y="5627192"/>
                <a:ext cx="89510" cy="242881"/>
              </a:xfrm>
              <a:custGeom>
                <a:avLst/>
                <a:gdLst>
                  <a:gd name="connsiteX0" fmla="*/ 16817 w 89510"/>
                  <a:gd name="connsiteY0" fmla="*/ 242817 h 242881"/>
                  <a:gd name="connsiteX1" fmla="*/ 11860 w 89510"/>
                  <a:gd name="connsiteY1" fmla="*/ 24123 h 242881"/>
                  <a:gd name="connsiteX2" fmla="*/ 88162 w 89510"/>
                  <a:gd name="connsiteY2" fmla="*/ 68132 h 242881"/>
                  <a:gd name="connsiteX3" fmla="*/ 16817 w 89510"/>
                  <a:gd name="connsiteY3" fmla="*/ 242817 h 242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510" h="242881">
                    <a:moveTo>
                      <a:pt x="16817" y="242817"/>
                    </a:moveTo>
                    <a:cubicBezTo>
                      <a:pt x="16817" y="242817"/>
                      <a:pt x="92820" y="94567"/>
                      <a:pt x="11860" y="24123"/>
                    </a:cubicBezTo>
                    <a:cubicBezTo>
                      <a:pt x="-43114" y="-23492"/>
                      <a:pt x="95221" y="3395"/>
                      <a:pt x="88162" y="68132"/>
                    </a:cubicBezTo>
                    <a:cubicBezTo>
                      <a:pt x="81103" y="132869"/>
                      <a:pt x="16817" y="242817"/>
                      <a:pt x="16817" y="242817"/>
                    </a:cubicBezTo>
                    <a:close/>
                  </a:path>
                </a:pathLst>
              </a:custGeom>
              <a:solidFill>
                <a:srgbClr val="000000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1" name="íšļîḋê"/>
              <p:cNvSpPr/>
              <p:nvPr/>
            </p:nvSpPr>
            <p:spPr>
              <a:xfrm>
                <a:off x="5274804" y="5623459"/>
                <a:ext cx="98141" cy="251116"/>
              </a:xfrm>
              <a:custGeom>
                <a:avLst/>
                <a:gdLst>
                  <a:gd name="connsiteX0" fmla="*/ 21183 w 98141"/>
                  <a:gd name="connsiteY0" fmla="*/ 250906 h 251116"/>
                  <a:gd name="connsiteX1" fmla="*/ 19080 w 98141"/>
                  <a:gd name="connsiteY1" fmla="*/ 250906 h 251116"/>
                  <a:gd name="connsiteX2" fmla="*/ 17278 w 98141"/>
                  <a:gd name="connsiteY2" fmla="*/ 245198 h 251116"/>
                  <a:gd name="connsiteX3" fmla="*/ 44916 w 98141"/>
                  <a:gd name="connsiteY3" fmla="*/ 163187 h 251116"/>
                  <a:gd name="connsiteX4" fmla="*/ 13373 w 98141"/>
                  <a:gd name="connsiteY4" fmla="*/ 31760 h 251116"/>
                  <a:gd name="connsiteX5" fmla="*/ 155 w 98141"/>
                  <a:gd name="connsiteY5" fmla="*/ 6076 h 251116"/>
                  <a:gd name="connsiteX6" fmla="*/ 36955 w 98141"/>
                  <a:gd name="connsiteY6" fmla="*/ 3973 h 251116"/>
                  <a:gd name="connsiteX7" fmla="*/ 78562 w 98141"/>
                  <a:gd name="connsiteY7" fmla="*/ 28156 h 251116"/>
                  <a:gd name="connsiteX8" fmla="*/ 96886 w 98141"/>
                  <a:gd name="connsiteY8" fmla="*/ 73216 h 251116"/>
                  <a:gd name="connsiteX9" fmla="*/ 24938 w 98141"/>
                  <a:gd name="connsiteY9" fmla="*/ 249704 h 251116"/>
                  <a:gd name="connsiteX10" fmla="*/ 21183 w 98141"/>
                  <a:gd name="connsiteY10" fmla="*/ 250906 h 251116"/>
                  <a:gd name="connsiteX11" fmla="*/ 15025 w 98141"/>
                  <a:gd name="connsiteY11" fmla="*/ 8029 h 251116"/>
                  <a:gd name="connsiteX12" fmla="*/ 7665 w 98141"/>
                  <a:gd name="connsiteY12" fmla="*/ 9681 h 251116"/>
                  <a:gd name="connsiteX13" fmla="*/ 18930 w 98141"/>
                  <a:gd name="connsiteY13" fmla="*/ 24701 h 251116"/>
                  <a:gd name="connsiteX14" fmla="*/ 53327 w 98141"/>
                  <a:gd name="connsiteY14" fmla="*/ 164389 h 251116"/>
                  <a:gd name="connsiteX15" fmla="*/ 48371 w 98141"/>
                  <a:gd name="connsiteY15" fmla="*/ 185718 h 251116"/>
                  <a:gd name="connsiteX16" fmla="*/ 88175 w 98141"/>
                  <a:gd name="connsiteY16" fmla="*/ 71414 h 251116"/>
                  <a:gd name="connsiteX17" fmla="*/ 34251 w 98141"/>
                  <a:gd name="connsiteY17" fmla="*/ 11333 h 251116"/>
                  <a:gd name="connsiteX18" fmla="*/ 15025 w 98141"/>
                  <a:gd name="connsiteY18" fmla="*/ 8029 h 251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98141" h="251116">
                    <a:moveTo>
                      <a:pt x="21183" y="250906"/>
                    </a:moveTo>
                    <a:cubicBezTo>
                      <a:pt x="20433" y="251101"/>
                      <a:pt x="19832" y="251101"/>
                      <a:pt x="19080" y="250906"/>
                    </a:cubicBezTo>
                    <a:cubicBezTo>
                      <a:pt x="17128" y="249779"/>
                      <a:pt x="16227" y="247271"/>
                      <a:pt x="17278" y="245198"/>
                    </a:cubicBezTo>
                    <a:cubicBezTo>
                      <a:pt x="29896" y="219138"/>
                      <a:pt x="39209" y="191591"/>
                      <a:pt x="44916" y="163187"/>
                    </a:cubicBezTo>
                    <a:cubicBezTo>
                      <a:pt x="56330" y="104008"/>
                      <a:pt x="44916" y="59849"/>
                      <a:pt x="13373" y="31760"/>
                    </a:cubicBezTo>
                    <a:cubicBezTo>
                      <a:pt x="756" y="20946"/>
                      <a:pt x="-3450" y="12535"/>
                      <a:pt x="155" y="6076"/>
                    </a:cubicBezTo>
                    <a:cubicBezTo>
                      <a:pt x="6314" y="-4889"/>
                      <a:pt x="30195" y="1720"/>
                      <a:pt x="36955" y="3973"/>
                    </a:cubicBezTo>
                    <a:cubicBezTo>
                      <a:pt x="52427" y="8855"/>
                      <a:pt x="66695" y="17116"/>
                      <a:pt x="78562" y="28156"/>
                    </a:cubicBezTo>
                    <a:cubicBezTo>
                      <a:pt x="91479" y="39406"/>
                      <a:pt x="98237" y="56139"/>
                      <a:pt x="96886" y="73216"/>
                    </a:cubicBezTo>
                    <a:cubicBezTo>
                      <a:pt x="89676" y="139005"/>
                      <a:pt x="27493" y="245198"/>
                      <a:pt x="24938" y="249704"/>
                    </a:cubicBezTo>
                    <a:cubicBezTo>
                      <a:pt x="23888" y="250680"/>
                      <a:pt x="22535" y="251131"/>
                      <a:pt x="21183" y="250906"/>
                    </a:cubicBezTo>
                    <a:close/>
                    <a:moveTo>
                      <a:pt x="15025" y="8029"/>
                    </a:moveTo>
                    <a:cubicBezTo>
                      <a:pt x="10520" y="8029"/>
                      <a:pt x="8116" y="8930"/>
                      <a:pt x="7665" y="9681"/>
                    </a:cubicBezTo>
                    <a:cubicBezTo>
                      <a:pt x="7216" y="10432"/>
                      <a:pt x="7665" y="15088"/>
                      <a:pt x="18930" y="24701"/>
                    </a:cubicBezTo>
                    <a:cubicBezTo>
                      <a:pt x="53327" y="54741"/>
                      <a:pt x="65193" y="102806"/>
                      <a:pt x="53327" y="164389"/>
                    </a:cubicBezTo>
                    <a:cubicBezTo>
                      <a:pt x="51976" y="171899"/>
                      <a:pt x="50173" y="179409"/>
                      <a:pt x="48371" y="185718"/>
                    </a:cubicBezTo>
                    <a:cubicBezTo>
                      <a:pt x="67296" y="149835"/>
                      <a:pt x="80665" y="111308"/>
                      <a:pt x="88175" y="71414"/>
                    </a:cubicBezTo>
                    <a:cubicBezTo>
                      <a:pt x="91328" y="43176"/>
                      <a:pt x="62489" y="20646"/>
                      <a:pt x="34251" y="11333"/>
                    </a:cubicBezTo>
                    <a:cubicBezTo>
                      <a:pt x="28094" y="9245"/>
                      <a:pt x="21634" y="8134"/>
                      <a:pt x="15025" y="8029"/>
                    </a:cubicBezTo>
                    <a:close/>
                  </a:path>
                </a:pathLst>
              </a:custGeom>
              <a:solidFill>
                <a:srgbClr val="FFFFFF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2" name="îṧľïḋe"/>
              <p:cNvSpPr/>
              <p:nvPr/>
            </p:nvSpPr>
            <p:spPr>
              <a:xfrm>
                <a:off x="6118350" y="5713113"/>
                <a:ext cx="340810" cy="449704"/>
              </a:xfrm>
              <a:custGeom>
                <a:avLst/>
                <a:gdLst>
                  <a:gd name="connsiteX0" fmla="*/ 11108 w 340810"/>
                  <a:gd name="connsiteY0" fmla="*/ -65 h 449704"/>
                  <a:gd name="connsiteX1" fmla="*/ 8405 w 340810"/>
                  <a:gd name="connsiteY1" fmla="*/ 434620 h 449704"/>
                  <a:gd name="connsiteX2" fmla="*/ 335844 w 340810"/>
                  <a:gd name="connsiteY2" fmla="*/ 449640 h 449704"/>
                  <a:gd name="connsiteX3" fmla="*/ 302801 w 340810"/>
                  <a:gd name="connsiteY3" fmla="*/ 273002 h 449704"/>
                  <a:gd name="connsiteX4" fmla="*/ 224245 w 340810"/>
                  <a:gd name="connsiteY4" fmla="*/ 195348 h 449704"/>
                  <a:gd name="connsiteX5" fmla="*/ 236862 w 340810"/>
                  <a:gd name="connsiteY5" fmla="*/ 5493 h 449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0810" h="449704">
                    <a:moveTo>
                      <a:pt x="11108" y="-65"/>
                    </a:moveTo>
                    <a:cubicBezTo>
                      <a:pt x="11108" y="-65"/>
                      <a:pt x="-14426" y="391812"/>
                      <a:pt x="8405" y="434620"/>
                    </a:cubicBezTo>
                    <a:cubicBezTo>
                      <a:pt x="8405" y="434620"/>
                      <a:pt x="216435" y="448138"/>
                      <a:pt x="335844" y="449640"/>
                    </a:cubicBezTo>
                    <a:cubicBezTo>
                      <a:pt x="335844" y="449640"/>
                      <a:pt x="356422" y="301691"/>
                      <a:pt x="302801" y="273002"/>
                    </a:cubicBezTo>
                    <a:cubicBezTo>
                      <a:pt x="245124" y="242211"/>
                      <a:pt x="224245" y="240559"/>
                      <a:pt x="224245" y="195348"/>
                    </a:cubicBezTo>
                    <a:cubicBezTo>
                      <a:pt x="224245" y="150137"/>
                      <a:pt x="236862" y="5493"/>
                      <a:pt x="236862" y="5493"/>
                    </a:cubicBezTo>
                    <a:close/>
                  </a:path>
                </a:pathLst>
              </a:custGeom>
              <a:solidFill>
                <a:srgbClr val="000000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" name="îSḷïḓè"/>
              <p:cNvSpPr/>
              <p:nvPr/>
            </p:nvSpPr>
            <p:spPr>
              <a:xfrm>
                <a:off x="6114106" y="5708607"/>
                <a:ext cx="348995" cy="458416"/>
              </a:xfrm>
              <a:custGeom>
                <a:avLst/>
                <a:gdLst>
                  <a:gd name="connsiteX0" fmla="*/ 340089 w 348995"/>
                  <a:gd name="connsiteY0" fmla="*/ 458352 h 458416"/>
                  <a:gd name="connsiteX1" fmla="*/ 340089 w 348995"/>
                  <a:gd name="connsiteY1" fmla="*/ 458352 h 458416"/>
                  <a:gd name="connsiteX2" fmla="*/ 12349 w 348995"/>
                  <a:gd name="connsiteY2" fmla="*/ 443331 h 458416"/>
                  <a:gd name="connsiteX3" fmla="*/ 8894 w 348995"/>
                  <a:gd name="connsiteY3" fmla="*/ 440928 h 458416"/>
                  <a:gd name="connsiteX4" fmla="*/ 10997 w 348995"/>
                  <a:gd name="connsiteY4" fmla="*/ 3991 h 458416"/>
                  <a:gd name="connsiteX5" fmla="*/ 15502 w 348995"/>
                  <a:gd name="connsiteY5" fmla="*/ -65 h 458416"/>
                  <a:gd name="connsiteX6" fmla="*/ 240805 w 348995"/>
                  <a:gd name="connsiteY6" fmla="*/ 5342 h 458416"/>
                  <a:gd name="connsiteX7" fmla="*/ 243961 w 348995"/>
                  <a:gd name="connsiteY7" fmla="*/ 6844 h 458416"/>
                  <a:gd name="connsiteX8" fmla="*/ 245011 w 348995"/>
                  <a:gd name="connsiteY8" fmla="*/ 10149 h 458416"/>
                  <a:gd name="connsiteX9" fmla="*/ 232395 w 348995"/>
                  <a:gd name="connsiteY9" fmla="*/ 199554 h 458416"/>
                  <a:gd name="connsiteX10" fmla="*/ 283013 w 348995"/>
                  <a:gd name="connsiteY10" fmla="*/ 259635 h 458416"/>
                  <a:gd name="connsiteX11" fmla="*/ 308547 w 348995"/>
                  <a:gd name="connsiteY11" fmla="*/ 272852 h 458416"/>
                  <a:gd name="connsiteX12" fmla="*/ 343994 w 348995"/>
                  <a:gd name="connsiteY12" fmla="*/ 453846 h 458416"/>
                  <a:gd name="connsiteX13" fmla="*/ 340089 w 348995"/>
                  <a:gd name="connsiteY13" fmla="*/ 458352 h 458416"/>
                  <a:gd name="connsiteX14" fmla="*/ 15502 w 348995"/>
                  <a:gd name="connsiteY14" fmla="*/ 434920 h 458416"/>
                  <a:gd name="connsiteX15" fmla="*/ 336334 w 348995"/>
                  <a:gd name="connsiteY15" fmla="*/ 449940 h 458416"/>
                  <a:gd name="connsiteX16" fmla="*/ 339339 w 348995"/>
                  <a:gd name="connsiteY16" fmla="*/ 376792 h 458416"/>
                  <a:gd name="connsiteX17" fmla="*/ 304942 w 348995"/>
                  <a:gd name="connsiteY17" fmla="*/ 281414 h 458416"/>
                  <a:gd name="connsiteX18" fmla="*/ 279559 w 348995"/>
                  <a:gd name="connsiteY18" fmla="*/ 268346 h 458416"/>
                  <a:gd name="connsiteX19" fmla="*/ 224133 w 348995"/>
                  <a:gd name="connsiteY19" fmla="*/ 200004 h 458416"/>
                  <a:gd name="connsiteX20" fmla="*/ 236451 w 348995"/>
                  <a:gd name="connsiteY20" fmla="*/ 14355 h 458416"/>
                  <a:gd name="connsiteX21" fmla="*/ 19408 w 348995"/>
                  <a:gd name="connsiteY21" fmla="*/ 9097 h 458416"/>
                  <a:gd name="connsiteX22" fmla="*/ 15502 w 348995"/>
                  <a:gd name="connsiteY22" fmla="*/ 434920 h 458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48995" h="458416">
                    <a:moveTo>
                      <a:pt x="340089" y="458352"/>
                    </a:moveTo>
                    <a:lnTo>
                      <a:pt x="340089" y="458352"/>
                    </a:lnTo>
                    <a:cubicBezTo>
                      <a:pt x="221880" y="457000"/>
                      <a:pt x="14452" y="443331"/>
                      <a:pt x="12349" y="443331"/>
                    </a:cubicBezTo>
                    <a:cubicBezTo>
                      <a:pt x="10847" y="443151"/>
                      <a:pt x="9644" y="442250"/>
                      <a:pt x="8894" y="440928"/>
                    </a:cubicBezTo>
                    <a:cubicBezTo>
                      <a:pt x="-14237" y="397520"/>
                      <a:pt x="9945" y="20363"/>
                      <a:pt x="10997" y="3991"/>
                    </a:cubicBezTo>
                    <a:cubicBezTo>
                      <a:pt x="11296" y="1678"/>
                      <a:pt x="13249" y="-80"/>
                      <a:pt x="15502" y="-65"/>
                    </a:cubicBezTo>
                    <a:lnTo>
                      <a:pt x="240805" y="5342"/>
                    </a:lnTo>
                    <a:cubicBezTo>
                      <a:pt x="242008" y="5433"/>
                      <a:pt x="243209" y="5958"/>
                      <a:pt x="243961" y="6844"/>
                    </a:cubicBezTo>
                    <a:cubicBezTo>
                      <a:pt x="244711" y="7746"/>
                      <a:pt x="245162" y="8948"/>
                      <a:pt x="245011" y="10149"/>
                    </a:cubicBezTo>
                    <a:cubicBezTo>
                      <a:pt x="245011" y="11501"/>
                      <a:pt x="232395" y="155244"/>
                      <a:pt x="232395" y="199554"/>
                    </a:cubicBezTo>
                    <a:cubicBezTo>
                      <a:pt x="232395" y="234701"/>
                      <a:pt x="245162" y="241009"/>
                      <a:pt x="283013" y="259635"/>
                    </a:cubicBezTo>
                    <a:cubicBezTo>
                      <a:pt x="290523" y="263390"/>
                      <a:pt x="299084" y="267745"/>
                      <a:pt x="308547" y="272852"/>
                    </a:cubicBezTo>
                    <a:cubicBezTo>
                      <a:pt x="364271" y="302892"/>
                      <a:pt x="344746" y="447687"/>
                      <a:pt x="343994" y="453846"/>
                    </a:cubicBezTo>
                    <a:cubicBezTo>
                      <a:pt x="343994" y="456114"/>
                      <a:pt x="342342" y="458051"/>
                      <a:pt x="340089" y="458352"/>
                    </a:cubicBezTo>
                    <a:close/>
                    <a:moveTo>
                      <a:pt x="15502" y="434920"/>
                    </a:moveTo>
                    <a:cubicBezTo>
                      <a:pt x="39534" y="436422"/>
                      <a:pt x="225785" y="448138"/>
                      <a:pt x="336334" y="449940"/>
                    </a:cubicBezTo>
                    <a:cubicBezTo>
                      <a:pt x="339038" y="425653"/>
                      <a:pt x="340089" y="401215"/>
                      <a:pt x="339339" y="376792"/>
                    </a:cubicBezTo>
                    <a:cubicBezTo>
                      <a:pt x="337986" y="341044"/>
                      <a:pt x="330776" y="295382"/>
                      <a:pt x="304942" y="281414"/>
                    </a:cubicBezTo>
                    <a:lnTo>
                      <a:pt x="279559" y="268346"/>
                    </a:lnTo>
                    <a:cubicBezTo>
                      <a:pt x="240354" y="248519"/>
                      <a:pt x="224133" y="240408"/>
                      <a:pt x="224133" y="200004"/>
                    </a:cubicBezTo>
                    <a:cubicBezTo>
                      <a:pt x="224133" y="159600"/>
                      <a:pt x="234348" y="39439"/>
                      <a:pt x="236451" y="14355"/>
                    </a:cubicBezTo>
                    <a:lnTo>
                      <a:pt x="19408" y="9097"/>
                    </a:lnTo>
                    <a:cubicBezTo>
                      <a:pt x="10847" y="142477"/>
                      <a:pt x="-1020" y="394516"/>
                      <a:pt x="15502" y="434920"/>
                    </a:cubicBezTo>
                    <a:close/>
                  </a:path>
                </a:pathLst>
              </a:custGeom>
              <a:solidFill>
                <a:srgbClr val="000000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4" name="iṡ1ïḑê"/>
              <p:cNvSpPr/>
              <p:nvPr/>
            </p:nvSpPr>
            <p:spPr>
              <a:xfrm>
                <a:off x="4812918" y="5659641"/>
                <a:ext cx="789665" cy="502876"/>
              </a:xfrm>
              <a:custGeom>
                <a:avLst/>
                <a:gdLst>
                  <a:gd name="connsiteX0" fmla="*/ 786928 w 789665"/>
                  <a:gd name="connsiteY0" fmla="*/ 19311 h 502876"/>
                  <a:gd name="connsiteX1" fmla="*/ 770706 w 789665"/>
                  <a:gd name="connsiteY1" fmla="*/ 169513 h 502876"/>
                  <a:gd name="connsiteX2" fmla="*/ 788580 w 789665"/>
                  <a:gd name="connsiteY2" fmla="*/ 502812 h 502876"/>
                  <a:gd name="connsiteX3" fmla="*/ 15340 w 789665"/>
                  <a:gd name="connsiteY3" fmla="*/ 502812 h 502876"/>
                  <a:gd name="connsiteX4" fmla="*/ 320 w 789665"/>
                  <a:gd name="connsiteY4" fmla="*/ 420951 h 502876"/>
                  <a:gd name="connsiteX5" fmla="*/ 67911 w 789665"/>
                  <a:gd name="connsiteY5" fmla="*/ 323020 h 502876"/>
                  <a:gd name="connsiteX6" fmla="*/ 72718 w 789665"/>
                  <a:gd name="connsiteY6" fmla="*/ 322269 h 502876"/>
                  <a:gd name="connsiteX7" fmla="*/ 408119 w 789665"/>
                  <a:gd name="connsiteY7" fmla="*/ 250172 h 502876"/>
                  <a:gd name="connsiteX8" fmla="*/ 538344 w 789665"/>
                  <a:gd name="connsiteY8" fmla="*/ -65 h 502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89665" h="502876">
                    <a:moveTo>
                      <a:pt x="786928" y="19311"/>
                    </a:moveTo>
                    <a:cubicBezTo>
                      <a:pt x="777314" y="68833"/>
                      <a:pt x="771907" y="119076"/>
                      <a:pt x="770706" y="169513"/>
                    </a:cubicBezTo>
                    <a:cubicBezTo>
                      <a:pt x="770706" y="239357"/>
                      <a:pt x="788580" y="502812"/>
                      <a:pt x="788580" y="502812"/>
                    </a:cubicBezTo>
                    <a:lnTo>
                      <a:pt x="15340" y="502812"/>
                    </a:lnTo>
                    <a:lnTo>
                      <a:pt x="320" y="420951"/>
                    </a:lnTo>
                    <a:cubicBezTo>
                      <a:pt x="-8090" y="375260"/>
                      <a:pt x="22100" y="331416"/>
                      <a:pt x="67911" y="323020"/>
                    </a:cubicBezTo>
                    <a:cubicBezTo>
                      <a:pt x="69414" y="322719"/>
                      <a:pt x="71066" y="322464"/>
                      <a:pt x="72718" y="322269"/>
                    </a:cubicBezTo>
                    <a:cubicBezTo>
                      <a:pt x="181013" y="308751"/>
                      <a:pt x="356300" y="282615"/>
                      <a:pt x="408119" y="250172"/>
                    </a:cubicBezTo>
                    <a:cubicBezTo>
                      <a:pt x="502747" y="190842"/>
                      <a:pt x="538344" y="41090"/>
                      <a:pt x="538344" y="-65"/>
                    </a:cubicBezTo>
                    <a:close/>
                  </a:path>
                </a:pathLst>
              </a:custGeom>
              <a:solidFill>
                <a:srgbClr val="000000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5" name="îśḷîḋê"/>
              <p:cNvSpPr/>
              <p:nvPr/>
            </p:nvSpPr>
            <p:spPr>
              <a:xfrm>
                <a:off x="4808628" y="5655716"/>
                <a:ext cx="799091" cy="511774"/>
              </a:xfrm>
              <a:custGeom>
                <a:avLst/>
                <a:gdLst>
                  <a:gd name="connsiteX0" fmla="*/ 792870 w 799091"/>
                  <a:gd name="connsiteY0" fmla="*/ 511543 h 511774"/>
                  <a:gd name="connsiteX1" fmla="*/ 19630 w 799091"/>
                  <a:gd name="connsiteY1" fmla="*/ 511543 h 511774"/>
                  <a:gd name="connsiteX2" fmla="*/ 15426 w 799091"/>
                  <a:gd name="connsiteY2" fmla="*/ 507938 h 511774"/>
                  <a:gd name="connsiteX3" fmla="*/ 406 w 799091"/>
                  <a:gd name="connsiteY3" fmla="*/ 426078 h 511774"/>
                  <a:gd name="connsiteX4" fmla="*/ 71150 w 799091"/>
                  <a:gd name="connsiteY4" fmla="*/ 323115 h 511774"/>
                  <a:gd name="connsiteX5" fmla="*/ 76407 w 799091"/>
                  <a:gd name="connsiteY5" fmla="*/ 322289 h 511774"/>
                  <a:gd name="connsiteX6" fmla="*/ 410155 w 799091"/>
                  <a:gd name="connsiteY6" fmla="*/ 250792 h 511774"/>
                  <a:gd name="connsiteX7" fmla="*/ 508989 w 799091"/>
                  <a:gd name="connsiteY7" fmla="*/ 121018 h 511774"/>
                  <a:gd name="connsiteX8" fmla="*/ 539030 w 799091"/>
                  <a:gd name="connsiteY8" fmla="*/ 4311 h 511774"/>
                  <a:gd name="connsiteX9" fmla="*/ 540381 w 799091"/>
                  <a:gd name="connsiteY9" fmla="*/ 1157 h 511774"/>
                  <a:gd name="connsiteX10" fmla="*/ 543685 w 799091"/>
                  <a:gd name="connsiteY10" fmla="*/ -45 h 511774"/>
                  <a:gd name="connsiteX11" fmla="*/ 792270 w 799091"/>
                  <a:gd name="connsiteY11" fmla="*/ 19031 h 511774"/>
                  <a:gd name="connsiteX12" fmla="*/ 795273 w 799091"/>
                  <a:gd name="connsiteY12" fmla="*/ 20683 h 511774"/>
                  <a:gd name="connsiteX13" fmla="*/ 796175 w 799091"/>
                  <a:gd name="connsiteY13" fmla="*/ 24138 h 511774"/>
                  <a:gd name="connsiteX14" fmla="*/ 780103 w 799091"/>
                  <a:gd name="connsiteY14" fmla="*/ 174340 h 511774"/>
                  <a:gd name="connsiteX15" fmla="*/ 797978 w 799091"/>
                  <a:gd name="connsiteY15" fmla="*/ 507337 h 511774"/>
                  <a:gd name="connsiteX16" fmla="*/ 796775 w 799091"/>
                  <a:gd name="connsiteY16" fmla="*/ 510642 h 511774"/>
                  <a:gd name="connsiteX17" fmla="*/ 792870 w 799091"/>
                  <a:gd name="connsiteY17" fmla="*/ 511543 h 511774"/>
                  <a:gd name="connsiteX18" fmla="*/ 23235 w 799091"/>
                  <a:gd name="connsiteY18" fmla="*/ 502982 h 511774"/>
                  <a:gd name="connsiteX19" fmla="*/ 788365 w 799091"/>
                  <a:gd name="connsiteY19" fmla="*/ 502982 h 511774"/>
                  <a:gd name="connsiteX20" fmla="*/ 770640 w 799091"/>
                  <a:gd name="connsiteY20" fmla="*/ 173889 h 511774"/>
                  <a:gd name="connsiteX21" fmla="*/ 785660 w 799091"/>
                  <a:gd name="connsiteY21" fmla="*/ 27292 h 511774"/>
                  <a:gd name="connsiteX22" fmla="*/ 546540 w 799091"/>
                  <a:gd name="connsiteY22" fmla="*/ 8967 h 511774"/>
                  <a:gd name="connsiteX23" fmla="*/ 516499 w 799091"/>
                  <a:gd name="connsiteY23" fmla="*/ 124322 h 511774"/>
                  <a:gd name="connsiteX24" fmla="*/ 414211 w 799091"/>
                  <a:gd name="connsiteY24" fmla="*/ 258152 h 511774"/>
                  <a:gd name="connsiteX25" fmla="*/ 76858 w 799091"/>
                  <a:gd name="connsiteY25" fmla="*/ 330850 h 511774"/>
                  <a:gd name="connsiteX26" fmla="*/ 22485 w 799091"/>
                  <a:gd name="connsiteY26" fmla="*/ 362843 h 511774"/>
                  <a:gd name="connsiteX27" fmla="*/ 8365 w 799091"/>
                  <a:gd name="connsiteY27" fmla="*/ 424426 h 511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799091" h="511774">
                    <a:moveTo>
                      <a:pt x="792870" y="511543"/>
                    </a:moveTo>
                    <a:lnTo>
                      <a:pt x="19630" y="511543"/>
                    </a:lnTo>
                    <a:cubicBezTo>
                      <a:pt x="17527" y="511558"/>
                      <a:pt x="15725" y="510026"/>
                      <a:pt x="15426" y="507938"/>
                    </a:cubicBezTo>
                    <a:lnTo>
                      <a:pt x="406" y="426078"/>
                    </a:lnTo>
                    <a:cubicBezTo>
                      <a:pt x="-8458" y="378118"/>
                      <a:pt x="23084" y="332021"/>
                      <a:pt x="71150" y="323115"/>
                    </a:cubicBezTo>
                    <a:cubicBezTo>
                      <a:pt x="72802" y="322784"/>
                      <a:pt x="74605" y="322514"/>
                      <a:pt x="76407" y="322289"/>
                    </a:cubicBezTo>
                    <a:cubicBezTo>
                      <a:pt x="178846" y="309521"/>
                      <a:pt x="358487" y="283236"/>
                      <a:pt x="410155" y="250792"/>
                    </a:cubicBezTo>
                    <a:cubicBezTo>
                      <a:pt x="461826" y="218349"/>
                      <a:pt x="491716" y="162774"/>
                      <a:pt x="508989" y="121018"/>
                    </a:cubicBezTo>
                    <a:cubicBezTo>
                      <a:pt x="525511" y="84068"/>
                      <a:pt x="535575" y="44610"/>
                      <a:pt x="539030" y="4311"/>
                    </a:cubicBezTo>
                    <a:cubicBezTo>
                      <a:pt x="539030" y="3124"/>
                      <a:pt x="539479" y="1998"/>
                      <a:pt x="540381" y="1157"/>
                    </a:cubicBezTo>
                    <a:cubicBezTo>
                      <a:pt x="541281" y="271"/>
                      <a:pt x="542484" y="-165"/>
                      <a:pt x="543685" y="-45"/>
                    </a:cubicBezTo>
                    <a:lnTo>
                      <a:pt x="792270" y="19031"/>
                    </a:lnTo>
                    <a:cubicBezTo>
                      <a:pt x="793471" y="19046"/>
                      <a:pt x="794674" y="19661"/>
                      <a:pt x="795273" y="20683"/>
                    </a:cubicBezTo>
                    <a:cubicBezTo>
                      <a:pt x="796025" y="21674"/>
                      <a:pt x="796326" y="22906"/>
                      <a:pt x="796175" y="24138"/>
                    </a:cubicBezTo>
                    <a:cubicBezTo>
                      <a:pt x="786713" y="73674"/>
                      <a:pt x="781306" y="123917"/>
                      <a:pt x="780103" y="174340"/>
                    </a:cubicBezTo>
                    <a:cubicBezTo>
                      <a:pt x="780103" y="243132"/>
                      <a:pt x="797827" y="504784"/>
                      <a:pt x="797978" y="507337"/>
                    </a:cubicBezTo>
                    <a:cubicBezTo>
                      <a:pt x="798128" y="508569"/>
                      <a:pt x="797677" y="509786"/>
                      <a:pt x="796775" y="510642"/>
                    </a:cubicBezTo>
                    <a:cubicBezTo>
                      <a:pt x="795724" y="511603"/>
                      <a:pt x="794223" y="511948"/>
                      <a:pt x="792870" y="511543"/>
                    </a:cubicBezTo>
                    <a:close/>
                    <a:moveTo>
                      <a:pt x="23235" y="502982"/>
                    </a:moveTo>
                    <a:lnTo>
                      <a:pt x="788365" y="502982"/>
                    </a:lnTo>
                    <a:cubicBezTo>
                      <a:pt x="785961" y="467384"/>
                      <a:pt x="770640" y="237875"/>
                      <a:pt x="770640" y="173889"/>
                    </a:cubicBezTo>
                    <a:cubicBezTo>
                      <a:pt x="771692" y="124698"/>
                      <a:pt x="776648" y="75657"/>
                      <a:pt x="785660" y="27292"/>
                    </a:cubicBezTo>
                    <a:lnTo>
                      <a:pt x="546540" y="8967"/>
                    </a:lnTo>
                    <a:cubicBezTo>
                      <a:pt x="542484" y="48726"/>
                      <a:pt x="532420" y="87628"/>
                      <a:pt x="516499" y="124322"/>
                    </a:cubicBezTo>
                    <a:cubicBezTo>
                      <a:pt x="498624" y="167280"/>
                      <a:pt x="466331" y="225408"/>
                      <a:pt x="414211" y="258152"/>
                    </a:cubicBezTo>
                    <a:cubicBezTo>
                      <a:pt x="386274" y="275576"/>
                      <a:pt x="305164" y="302312"/>
                      <a:pt x="76858" y="330850"/>
                    </a:cubicBezTo>
                    <a:cubicBezTo>
                      <a:pt x="55078" y="333539"/>
                      <a:pt x="35402" y="345119"/>
                      <a:pt x="22485" y="362843"/>
                    </a:cubicBezTo>
                    <a:cubicBezTo>
                      <a:pt x="9417" y="380477"/>
                      <a:pt x="4161" y="402827"/>
                      <a:pt x="8365" y="42442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6" name="íŝḷiḍê"/>
              <p:cNvSpPr/>
              <p:nvPr/>
            </p:nvSpPr>
            <p:spPr>
              <a:xfrm>
                <a:off x="5159780" y="5754082"/>
                <a:ext cx="194182" cy="228409"/>
              </a:xfrm>
              <a:custGeom>
                <a:avLst/>
                <a:gdLst>
                  <a:gd name="connsiteX0" fmla="*/ 3129 w 194182"/>
                  <a:gd name="connsiteY0" fmla="*/ 228278 h 228409"/>
                  <a:gd name="connsiteX1" fmla="*/ 3129 w 194182"/>
                  <a:gd name="connsiteY1" fmla="*/ 228278 h 228409"/>
                  <a:gd name="connsiteX2" fmla="*/ -1078 w 194182"/>
                  <a:gd name="connsiteY2" fmla="*/ 223772 h 228409"/>
                  <a:gd name="connsiteX3" fmla="*/ -1078 w 194182"/>
                  <a:gd name="connsiteY3" fmla="*/ 223772 h 228409"/>
                  <a:gd name="connsiteX4" fmla="*/ 2828 w 194182"/>
                  <a:gd name="connsiteY4" fmla="*/ 137105 h 228409"/>
                  <a:gd name="connsiteX5" fmla="*/ 4630 w 194182"/>
                  <a:gd name="connsiteY5" fmla="*/ 133651 h 228409"/>
                  <a:gd name="connsiteX6" fmla="*/ 8385 w 194182"/>
                  <a:gd name="connsiteY6" fmla="*/ 133651 h 228409"/>
                  <a:gd name="connsiteX7" fmla="*/ 103763 w 194182"/>
                  <a:gd name="connsiteY7" fmla="*/ 163691 h 228409"/>
                  <a:gd name="connsiteX8" fmla="*/ 71622 w 194182"/>
                  <a:gd name="connsiteY8" fmla="*/ 89341 h 228409"/>
                  <a:gd name="connsiteX9" fmla="*/ 71622 w 194182"/>
                  <a:gd name="connsiteY9" fmla="*/ 85286 h 228409"/>
                  <a:gd name="connsiteX10" fmla="*/ 75076 w 194182"/>
                  <a:gd name="connsiteY10" fmla="*/ 83333 h 228409"/>
                  <a:gd name="connsiteX11" fmla="*/ 181719 w 194182"/>
                  <a:gd name="connsiteY11" fmla="*/ 81230 h 228409"/>
                  <a:gd name="connsiteX12" fmla="*/ 144018 w 194182"/>
                  <a:gd name="connsiteY12" fmla="*/ 6129 h 228409"/>
                  <a:gd name="connsiteX13" fmla="*/ 145820 w 194182"/>
                  <a:gd name="connsiteY13" fmla="*/ 482 h 228409"/>
                  <a:gd name="connsiteX14" fmla="*/ 145971 w 194182"/>
                  <a:gd name="connsiteY14" fmla="*/ 421 h 228409"/>
                  <a:gd name="connsiteX15" fmla="*/ 151679 w 194182"/>
                  <a:gd name="connsiteY15" fmla="*/ 2179 h 228409"/>
                  <a:gd name="connsiteX16" fmla="*/ 151679 w 194182"/>
                  <a:gd name="connsiteY16" fmla="*/ 2224 h 228409"/>
                  <a:gd name="connsiteX17" fmla="*/ 192533 w 194182"/>
                  <a:gd name="connsiteY17" fmla="*/ 83033 h 228409"/>
                  <a:gd name="connsiteX18" fmla="*/ 192533 w 194182"/>
                  <a:gd name="connsiteY18" fmla="*/ 87238 h 228409"/>
                  <a:gd name="connsiteX19" fmla="*/ 188928 w 194182"/>
                  <a:gd name="connsiteY19" fmla="*/ 89341 h 228409"/>
                  <a:gd name="connsiteX20" fmla="*/ 81834 w 194182"/>
                  <a:gd name="connsiteY20" fmla="*/ 91294 h 228409"/>
                  <a:gd name="connsiteX21" fmla="*/ 115329 w 194182"/>
                  <a:gd name="connsiteY21" fmla="*/ 168498 h 228409"/>
                  <a:gd name="connsiteX22" fmla="*/ 115329 w 194182"/>
                  <a:gd name="connsiteY22" fmla="*/ 173154 h 228409"/>
                  <a:gd name="connsiteX23" fmla="*/ 110824 w 194182"/>
                  <a:gd name="connsiteY23" fmla="*/ 174355 h 228409"/>
                  <a:gd name="connsiteX24" fmla="*/ 11840 w 194182"/>
                  <a:gd name="connsiteY24" fmla="*/ 143113 h 228409"/>
                  <a:gd name="connsiteX25" fmla="*/ 8235 w 194182"/>
                  <a:gd name="connsiteY25" fmla="*/ 224222 h 228409"/>
                  <a:gd name="connsiteX26" fmla="*/ 3580 w 194182"/>
                  <a:gd name="connsiteY26" fmla="*/ 228338 h 228409"/>
                  <a:gd name="connsiteX27" fmla="*/ 3129 w 194182"/>
                  <a:gd name="connsiteY27" fmla="*/ 228278 h 2284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94182" h="228409">
                    <a:moveTo>
                      <a:pt x="3129" y="228278"/>
                    </a:moveTo>
                    <a:lnTo>
                      <a:pt x="3129" y="228278"/>
                    </a:lnTo>
                    <a:cubicBezTo>
                      <a:pt x="725" y="228203"/>
                      <a:pt x="-1228" y="226175"/>
                      <a:pt x="-1078" y="223772"/>
                    </a:cubicBezTo>
                    <a:cubicBezTo>
                      <a:pt x="-1078" y="223772"/>
                      <a:pt x="-1078" y="223772"/>
                      <a:pt x="-1078" y="223772"/>
                    </a:cubicBezTo>
                    <a:lnTo>
                      <a:pt x="2828" y="137105"/>
                    </a:lnTo>
                    <a:cubicBezTo>
                      <a:pt x="2828" y="135739"/>
                      <a:pt x="3580" y="134462"/>
                      <a:pt x="4630" y="133651"/>
                    </a:cubicBezTo>
                    <a:cubicBezTo>
                      <a:pt x="5833" y="133140"/>
                      <a:pt x="7184" y="133140"/>
                      <a:pt x="8385" y="133651"/>
                    </a:cubicBezTo>
                    <a:lnTo>
                      <a:pt x="103763" y="163691"/>
                    </a:lnTo>
                    <a:lnTo>
                      <a:pt x="71622" y="89341"/>
                    </a:lnTo>
                    <a:cubicBezTo>
                      <a:pt x="71020" y="88064"/>
                      <a:pt x="71020" y="86562"/>
                      <a:pt x="71622" y="85286"/>
                    </a:cubicBezTo>
                    <a:cubicBezTo>
                      <a:pt x="72371" y="84099"/>
                      <a:pt x="73723" y="83363"/>
                      <a:pt x="75076" y="83333"/>
                    </a:cubicBezTo>
                    <a:lnTo>
                      <a:pt x="181719" y="81230"/>
                    </a:lnTo>
                    <a:lnTo>
                      <a:pt x="144018" y="6129"/>
                    </a:lnTo>
                    <a:cubicBezTo>
                      <a:pt x="142968" y="4056"/>
                      <a:pt x="143717" y="1533"/>
                      <a:pt x="145820" y="482"/>
                    </a:cubicBezTo>
                    <a:cubicBezTo>
                      <a:pt x="145971" y="451"/>
                      <a:pt x="145971" y="437"/>
                      <a:pt x="145971" y="421"/>
                    </a:cubicBezTo>
                    <a:cubicBezTo>
                      <a:pt x="148074" y="-660"/>
                      <a:pt x="150628" y="121"/>
                      <a:pt x="151679" y="2179"/>
                    </a:cubicBezTo>
                    <a:cubicBezTo>
                      <a:pt x="151679" y="2194"/>
                      <a:pt x="151679" y="2209"/>
                      <a:pt x="151679" y="2224"/>
                    </a:cubicBezTo>
                    <a:lnTo>
                      <a:pt x="192533" y="83033"/>
                    </a:lnTo>
                    <a:cubicBezTo>
                      <a:pt x="193285" y="84309"/>
                      <a:pt x="193285" y="85962"/>
                      <a:pt x="192533" y="87238"/>
                    </a:cubicBezTo>
                    <a:cubicBezTo>
                      <a:pt x="191783" y="88500"/>
                      <a:pt x="190430" y="89296"/>
                      <a:pt x="188928" y="89341"/>
                    </a:cubicBezTo>
                    <a:lnTo>
                      <a:pt x="81834" y="91294"/>
                    </a:lnTo>
                    <a:lnTo>
                      <a:pt x="115329" y="168498"/>
                    </a:lnTo>
                    <a:cubicBezTo>
                      <a:pt x="116231" y="169925"/>
                      <a:pt x="116231" y="171727"/>
                      <a:pt x="115329" y="173154"/>
                    </a:cubicBezTo>
                    <a:cubicBezTo>
                      <a:pt x="114278" y="174430"/>
                      <a:pt x="112476" y="174896"/>
                      <a:pt x="110824" y="174355"/>
                    </a:cubicBezTo>
                    <a:lnTo>
                      <a:pt x="11840" y="143113"/>
                    </a:lnTo>
                    <a:lnTo>
                      <a:pt x="8235" y="224222"/>
                    </a:lnTo>
                    <a:cubicBezTo>
                      <a:pt x="8085" y="226626"/>
                      <a:pt x="5983" y="228473"/>
                      <a:pt x="3580" y="228338"/>
                    </a:cubicBezTo>
                    <a:cubicBezTo>
                      <a:pt x="3429" y="228323"/>
                      <a:pt x="3279" y="228308"/>
                      <a:pt x="3129" y="228278"/>
                    </a:cubicBezTo>
                    <a:close/>
                  </a:path>
                </a:pathLst>
              </a:custGeom>
              <a:solidFill>
                <a:srgbClr val="FD521B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7" name="îš1iḓe"/>
              <p:cNvSpPr/>
              <p:nvPr/>
            </p:nvSpPr>
            <p:spPr>
              <a:xfrm>
                <a:off x="6196711" y="5675814"/>
                <a:ext cx="181365" cy="304358"/>
              </a:xfrm>
              <a:custGeom>
                <a:avLst/>
                <a:gdLst>
                  <a:gd name="connsiteX0" fmla="*/ 46301 w 181365"/>
                  <a:gd name="connsiteY0" fmla="*/ 304293 h 304358"/>
                  <a:gd name="connsiteX1" fmla="*/ 1240 w 181365"/>
                  <a:gd name="connsiteY1" fmla="*/ 206512 h 304358"/>
                  <a:gd name="connsiteX2" fmla="*/ 3793 w 181365"/>
                  <a:gd name="connsiteY2" fmla="*/ 51353 h 304358"/>
                  <a:gd name="connsiteX3" fmla="*/ 62372 w 181365"/>
                  <a:gd name="connsiteY3" fmla="*/ -16 h 304358"/>
                  <a:gd name="connsiteX4" fmla="*/ 119299 w 181365"/>
                  <a:gd name="connsiteY4" fmla="*/ -16 h 304358"/>
                  <a:gd name="connsiteX5" fmla="*/ 159403 w 181365"/>
                  <a:gd name="connsiteY5" fmla="*/ 37685 h 304358"/>
                  <a:gd name="connsiteX6" fmla="*/ 149039 w 181365"/>
                  <a:gd name="connsiteY6" fmla="*/ 256229 h 304358"/>
                  <a:gd name="connsiteX7" fmla="*/ 180280 w 181365"/>
                  <a:gd name="connsiteY7" fmla="*/ 301290 h 3043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1365" h="304358">
                    <a:moveTo>
                      <a:pt x="46301" y="304293"/>
                    </a:moveTo>
                    <a:cubicBezTo>
                      <a:pt x="46301" y="304293"/>
                      <a:pt x="9801" y="294080"/>
                      <a:pt x="1240" y="206512"/>
                    </a:cubicBezTo>
                    <a:cubicBezTo>
                      <a:pt x="-2515" y="154827"/>
                      <a:pt x="-1765" y="102888"/>
                      <a:pt x="3793" y="51353"/>
                    </a:cubicBezTo>
                    <a:cubicBezTo>
                      <a:pt x="6497" y="21343"/>
                      <a:pt x="32331" y="-1262"/>
                      <a:pt x="62372" y="-16"/>
                    </a:cubicBezTo>
                    <a:lnTo>
                      <a:pt x="119299" y="-16"/>
                    </a:lnTo>
                    <a:cubicBezTo>
                      <a:pt x="140177" y="900"/>
                      <a:pt x="157150" y="16927"/>
                      <a:pt x="159403" y="37685"/>
                    </a:cubicBezTo>
                    <a:cubicBezTo>
                      <a:pt x="159403" y="37685"/>
                      <a:pt x="149039" y="133363"/>
                      <a:pt x="149039" y="256229"/>
                    </a:cubicBezTo>
                    <a:cubicBezTo>
                      <a:pt x="149039" y="270047"/>
                      <a:pt x="180280" y="301290"/>
                      <a:pt x="180280" y="301290"/>
                    </a:cubicBezTo>
                    <a:close/>
                  </a:path>
                </a:pathLst>
              </a:custGeom>
              <a:solidFill>
                <a:srgbClr val="000000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8" name="ïṩļiḍê"/>
              <p:cNvSpPr/>
              <p:nvPr/>
            </p:nvSpPr>
            <p:spPr>
              <a:xfrm>
                <a:off x="6192099" y="5672029"/>
                <a:ext cx="189733" cy="312949"/>
              </a:xfrm>
              <a:custGeom>
                <a:avLst/>
                <a:gdLst>
                  <a:gd name="connsiteX0" fmla="*/ 50913 w 189733"/>
                  <a:gd name="connsiteY0" fmla="*/ 312885 h 312949"/>
                  <a:gd name="connsiteX1" fmla="*/ 49710 w 189733"/>
                  <a:gd name="connsiteY1" fmla="*/ 312885 h 312949"/>
                  <a:gd name="connsiteX2" fmla="*/ 1195 w 189733"/>
                  <a:gd name="connsiteY2" fmla="*/ 211348 h 312949"/>
                  <a:gd name="connsiteX3" fmla="*/ 3749 w 189733"/>
                  <a:gd name="connsiteY3" fmla="*/ 55288 h 312949"/>
                  <a:gd name="connsiteX4" fmla="*/ 66683 w 189733"/>
                  <a:gd name="connsiteY4" fmla="*/ 14 h 312949"/>
                  <a:gd name="connsiteX5" fmla="*/ 123610 w 189733"/>
                  <a:gd name="connsiteY5" fmla="*/ 14 h 312949"/>
                  <a:gd name="connsiteX6" fmla="*/ 123610 w 189733"/>
                  <a:gd name="connsiteY6" fmla="*/ 14 h 312949"/>
                  <a:gd name="connsiteX7" fmla="*/ 153651 w 189733"/>
                  <a:gd name="connsiteY7" fmla="*/ 12781 h 312949"/>
                  <a:gd name="connsiteX8" fmla="*/ 167620 w 189733"/>
                  <a:gd name="connsiteY8" fmla="*/ 41920 h 312949"/>
                  <a:gd name="connsiteX9" fmla="*/ 167620 w 189733"/>
                  <a:gd name="connsiteY9" fmla="*/ 41920 h 312949"/>
                  <a:gd name="connsiteX10" fmla="*/ 157406 w 189733"/>
                  <a:gd name="connsiteY10" fmla="*/ 260014 h 312949"/>
                  <a:gd name="connsiteX11" fmla="*/ 187446 w 189733"/>
                  <a:gd name="connsiteY11" fmla="*/ 302521 h 312949"/>
                  <a:gd name="connsiteX12" fmla="*/ 188348 w 189733"/>
                  <a:gd name="connsiteY12" fmla="*/ 307177 h 312949"/>
                  <a:gd name="connsiteX13" fmla="*/ 184443 w 189733"/>
                  <a:gd name="connsiteY13" fmla="*/ 309880 h 312949"/>
                  <a:gd name="connsiteX14" fmla="*/ 50763 w 189733"/>
                  <a:gd name="connsiteY14" fmla="*/ 312885 h 312949"/>
                  <a:gd name="connsiteX15" fmla="*/ 64281 w 189733"/>
                  <a:gd name="connsiteY15" fmla="*/ 8425 h 312949"/>
                  <a:gd name="connsiteX16" fmla="*/ 12460 w 189733"/>
                  <a:gd name="connsiteY16" fmla="*/ 55889 h 312949"/>
                  <a:gd name="connsiteX17" fmla="*/ 9908 w 189733"/>
                  <a:gd name="connsiteY17" fmla="*/ 210447 h 312949"/>
                  <a:gd name="connsiteX18" fmla="*/ 51663 w 189733"/>
                  <a:gd name="connsiteY18" fmla="*/ 304173 h 312949"/>
                  <a:gd name="connsiteX19" fmla="*/ 174830 w 189733"/>
                  <a:gd name="connsiteY19" fmla="*/ 301469 h 312949"/>
                  <a:gd name="connsiteX20" fmla="*/ 149144 w 189733"/>
                  <a:gd name="connsiteY20" fmla="*/ 260014 h 312949"/>
                  <a:gd name="connsiteX21" fmla="*/ 159358 w 189733"/>
                  <a:gd name="connsiteY21" fmla="*/ 41169 h 312949"/>
                  <a:gd name="connsiteX22" fmla="*/ 123610 w 189733"/>
                  <a:gd name="connsiteY22" fmla="*/ 8125 h 312949"/>
                  <a:gd name="connsiteX23" fmla="*/ 66683 w 189733"/>
                  <a:gd name="connsiteY23" fmla="*/ 8125 h 312949"/>
                  <a:gd name="connsiteX24" fmla="*/ 64281 w 189733"/>
                  <a:gd name="connsiteY24" fmla="*/ 8125 h 312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89733" h="312949">
                    <a:moveTo>
                      <a:pt x="50913" y="312885"/>
                    </a:moveTo>
                    <a:lnTo>
                      <a:pt x="49710" y="312885"/>
                    </a:lnTo>
                    <a:cubicBezTo>
                      <a:pt x="48058" y="312885"/>
                      <a:pt x="10357" y="300718"/>
                      <a:pt x="1195" y="211348"/>
                    </a:cubicBezTo>
                    <a:cubicBezTo>
                      <a:pt x="-2560" y="159348"/>
                      <a:pt x="-1658" y="107138"/>
                      <a:pt x="3749" y="55288"/>
                    </a:cubicBezTo>
                    <a:cubicBezTo>
                      <a:pt x="6303" y="22860"/>
                      <a:pt x="34241" y="-1638"/>
                      <a:pt x="66683" y="14"/>
                    </a:cubicBezTo>
                    <a:lnTo>
                      <a:pt x="123610" y="14"/>
                    </a:lnTo>
                    <a:lnTo>
                      <a:pt x="123610" y="14"/>
                    </a:lnTo>
                    <a:cubicBezTo>
                      <a:pt x="134725" y="750"/>
                      <a:pt x="145389" y="5241"/>
                      <a:pt x="153651" y="12781"/>
                    </a:cubicBezTo>
                    <a:cubicBezTo>
                      <a:pt x="162213" y="20066"/>
                      <a:pt x="167319" y="30670"/>
                      <a:pt x="167620" y="41920"/>
                    </a:cubicBezTo>
                    <a:lnTo>
                      <a:pt x="167620" y="41920"/>
                    </a:lnTo>
                    <a:cubicBezTo>
                      <a:pt x="167620" y="42821"/>
                      <a:pt x="157406" y="138801"/>
                      <a:pt x="157406" y="260014"/>
                    </a:cubicBezTo>
                    <a:cubicBezTo>
                      <a:pt x="157406" y="268725"/>
                      <a:pt x="175880" y="290054"/>
                      <a:pt x="187446" y="302521"/>
                    </a:cubicBezTo>
                    <a:cubicBezTo>
                      <a:pt x="188647" y="303752"/>
                      <a:pt x="188948" y="305585"/>
                      <a:pt x="188348" y="307177"/>
                    </a:cubicBezTo>
                    <a:cubicBezTo>
                      <a:pt x="187747" y="308799"/>
                      <a:pt x="186245" y="309866"/>
                      <a:pt x="184443" y="309880"/>
                    </a:cubicBezTo>
                    <a:lnTo>
                      <a:pt x="50763" y="312885"/>
                    </a:lnTo>
                    <a:close/>
                    <a:moveTo>
                      <a:pt x="64281" y="8425"/>
                    </a:moveTo>
                    <a:cubicBezTo>
                      <a:pt x="37394" y="8470"/>
                      <a:pt x="14864" y="29048"/>
                      <a:pt x="12460" y="55889"/>
                    </a:cubicBezTo>
                    <a:cubicBezTo>
                      <a:pt x="6903" y="107228"/>
                      <a:pt x="6153" y="158958"/>
                      <a:pt x="9908" y="210447"/>
                    </a:cubicBezTo>
                    <a:cubicBezTo>
                      <a:pt x="17717" y="287501"/>
                      <a:pt x="47308" y="302370"/>
                      <a:pt x="51663" y="304173"/>
                    </a:cubicBezTo>
                    <a:lnTo>
                      <a:pt x="174830" y="301469"/>
                    </a:lnTo>
                    <a:cubicBezTo>
                      <a:pt x="164916" y="290655"/>
                      <a:pt x="149144" y="271429"/>
                      <a:pt x="149144" y="260014"/>
                    </a:cubicBezTo>
                    <a:cubicBezTo>
                      <a:pt x="149144" y="141204"/>
                      <a:pt x="158757" y="46426"/>
                      <a:pt x="159358" y="41169"/>
                    </a:cubicBezTo>
                    <a:cubicBezTo>
                      <a:pt x="156804" y="23025"/>
                      <a:pt x="141934" y="9176"/>
                      <a:pt x="123610" y="8125"/>
                    </a:cubicBezTo>
                    <a:lnTo>
                      <a:pt x="66683" y="8125"/>
                    </a:lnTo>
                    <a:lnTo>
                      <a:pt x="64281" y="8125"/>
                    </a:lnTo>
                    <a:close/>
                  </a:path>
                </a:pathLst>
              </a:custGeom>
              <a:solidFill>
                <a:srgbClr val="FFFFFF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9" name="ïṥľíḓé"/>
              <p:cNvSpPr/>
              <p:nvPr/>
            </p:nvSpPr>
            <p:spPr>
              <a:xfrm>
                <a:off x="6192232" y="5764793"/>
                <a:ext cx="190445" cy="190247"/>
              </a:xfrm>
              <a:custGeom>
                <a:avLst/>
                <a:gdLst>
                  <a:gd name="connsiteX0" fmla="*/ 184460 w 190445"/>
                  <a:gd name="connsiteY0" fmla="*/ 190080 h 190247"/>
                  <a:gd name="connsiteX1" fmla="*/ 184460 w 190445"/>
                  <a:gd name="connsiteY1" fmla="*/ 190080 h 190247"/>
                  <a:gd name="connsiteX2" fmla="*/ 14881 w 190445"/>
                  <a:gd name="connsiteY2" fmla="*/ 170554 h 190247"/>
                  <a:gd name="connsiteX3" fmla="*/ 11878 w 190445"/>
                  <a:gd name="connsiteY3" fmla="*/ 165222 h 190247"/>
                  <a:gd name="connsiteX4" fmla="*/ 15932 w 190445"/>
                  <a:gd name="connsiteY4" fmla="*/ 161993 h 190247"/>
                  <a:gd name="connsiteX5" fmla="*/ 138196 w 190445"/>
                  <a:gd name="connsiteY5" fmla="*/ 176112 h 190247"/>
                  <a:gd name="connsiteX6" fmla="*/ 9775 w 190445"/>
                  <a:gd name="connsiteY6" fmla="*/ 136909 h 190247"/>
                  <a:gd name="connsiteX7" fmla="*/ 6770 w 190445"/>
                  <a:gd name="connsiteY7" fmla="*/ 132553 h 190247"/>
                  <a:gd name="connsiteX8" fmla="*/ 10074 w 190445"/>
                  <a:gd name="connsiteY8" fmla="*/ 128497 h 190247"/>
                  <a:gd name="connsiteX9" fmla="*/ 149612 w 190445"/>
                  <a:gd name="connsiteY9" fmla="*/ 97105 h 190247"/>
                  <a:gd name="connsiteX10" fmla="*/ 2114 w 190445"/>
                  <a:gd name="connsiteY10" fmla="*/ 52045 h 190247"/>
                  <a:gd name="connsiteX11" fmla="*/ -891 w 190445"/>
                  <a:gd name="connsiteY11" fmla="*/ 46698 h 190247"/>
                  <a:gd name="connsiteX12" fmla="*/ 2114 w 190445"/>
                  <a:gd name="connsiteY12" fmla="*/ 43633 h 190247"/>
                  <a:gd name="connsiteX13" fmla="*/ 158024 w 190445"/>
                  <a:gd name="connsiteY13" fmla="*/ 75 h 190247"/>
                  <a:gd name="connsiteX14" fmla="*/ 163431 w 190445"/>
                  <a:gd name="connsiteY14" fmla="*/ 3079 h 190247"/>
                  <a:gd name="connsiteX15" fmla="*/ 160426 w 190445"/>
                  <a:gd name="connsiteY15" fmla="*/ 8336 h 190247"/>
                  <a:gd name="connsiteX16" fmla="*/ 18486 w 190445"/>
                  <a:gd name="connsiteY16" fmla="*/ 47989 h 190247"/>
                  <a:gd name="connsiteX17" fmla="*/ 167487 w 190445"/>
                  <a:gd name="connsiteY17" fmla="*/ 94101 h 190247"/>
                  <a:gd name="connsiteX18" fmla="*/ 170490 w 190445"/>
                  <a:gd name="connsiteY18" fmla="*/ 99433 h 190247"/>
                  <a:gd name="connsiteX19" fmla="*/ 167487 w 190445"/>
                  <a:gd name="connsiteY19" fmla="*/ 102513 h 190247"/>
                  <a:gd name="connsiteX20" fmla="*/ 28099 w 190445"/>
                  <a:gd name="connsiteY20" fmla="*/ 133905 h 190247"/>
                  <a:gd name="connsiteX21" fmla="*/ 186413 w 190445"/>
                  <a:gd name="connsiteY21" fmla="*/ 182120 h 190247"/>
                  <a:gd name="connsiteX22" fmla="*/ 189265 w 190445"/>
                  <a:gd name="connsiteY22" fmla="*/ 187226 h 190247"/>
                  <a:gd name="connsiteX23" fmla="*/ 184460 w 190445"/>
                  <a:gd name="connsiteY23" fmla="*/ 190080 h 190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90445" h="190247">
                    <a:moveTo>
                      <a:pt x="184460" y="190080"/>
                    </a:moveTo>
                    <a:lnTo>
                      <a:pt x="184460" y="190080"/>
                    </a:lnTo>
                    <a:lnTo>
                      <a:pt x="14881" y="170554"/>
                    </a:lnTo>
                    <a:cubicBezTo>
                      <a:pt x="12628" y="169923"/>
                      <a:pt x="11126" y="167535"/>
                      <a:pt x="11878" y="165222"/>
                    </a:cubicBezTo>
                    <a:cubicBezTo>
                      <a:pt x="12327" y="163344"/>
                      <a:pt x="13979" y="162022"/>
                      <a:pt x="15932" y="161993"/>
                    </a:cubicBezTo>
                    <a:lnTo>
                      <a:pt x="138196" y="176112"/>
                    </a:lnTo>
                    <a:lnTo>
                      <a:pt x="9775" y="136909"/>
                    </a:lnTo>
                    <a:cubicBezTo>
                      <a:pt x="7972" y="136308"/>
                      <a:pt x="6619" y="134520"/>
                      <a:pt x="6770" y="132553"/>
                    </a:cubicBezTo>
                    <a:cubicBezTo>
                      <a:pt x="6770" y="130600"/>
                      <a:pt x="8123" y="128918"/>
                      <a:pt x="10074" y="128497"/>
                    </a:cubicBezTo>
                    <a:lnTo>
                      <a:pt x="149612" y="97105"/>
                    </a:lnTo>
                    <a:lnTo>
                      <a:pt x="2114" y="52045"/>
                    </a:lnTo>
                    <a:cubicBezTo>
                      <a:pt x="-139" y="51414"/>
                      <a:pt x="-1641" y="49026"/>
                      <a:pt x="-891" y="46698"/>
                    </a:cubicBezTo>
                    <a:cubicBezTo>
                      <a:pt x="-590" y="45211"/>
                      <a:pt x="613" y="44039"/>
                      <a:pt x="2114" y="43633"/>
                    </a:cubicBezTo>
                    <a:lnTo>
                      <a:pt x="158024" y="75"/>
                    </a:lnTo>
                    <a:cubicBezTo>
                      <a:pt x="160276" y="-511"/>
                      <a:pt x="162679" y="796"/>
                      <a:pt x="163431" y="3079"/>
                    </a:cubicBezTo>
                    <a:cubicBezTo>
                      <a:pt x="164031" y="5362"/>
                      <a:pt x="162679" y="7675"/>
                      <a:pt x="160426" y="8336"/>
                    </a:cubicBezTo>
                    <a:lnTo>
                      <a:pt x="18486" y="47989"/>
                    </a:lnTo>
                    <a:lnTo>
                      <a:pt x="167487" y="94101"/>
                    </a:lnTo>
                    <a:cubicBezTo>
                      <a:pt x="169738" y="94732"/>
                      <a:pt x="171242" y="97120"/>
                      <a:pt x="170490" y="99433"/>
                    </a:cubicBezTo>
                    <a:cubicBezTo>
                      <a:pt x="170190" y="100935"/>
                      <a:pt x="168989" y="102107"/>
                      <a:pt x="167487" y="102513"/>
                    </a:cubicBezTo>
                    <a:lnTo>
                      <a:pt x="28099" y="133905"/>
                    </a:lnTo>
                    <a:lnTo>
                      <a:pt x="186413" y="182120"/>
                    </a:lnTo>
                    <a:cubicBezTo>
                      <a:pt x="188514" y="182841"/>
                      <a:pt x="189717" y="185049"/>
                      <a:pt x="189265" y="187226"/>
                    </a:cubicBezTo>
                    <a:cubicBezTo>
                      <a:pt x="188664" y="189299"/>
                      <a:pt x="186561" y="190561"/>
                      <a:pt x="184460" y="190080"/>
                    </a:cubicBezTo>
                    <a:close/>
                  </a:path>
                </a:pathLst>
              </a:custGeom>
              <a:solidFill>
                <a:srgbClr val="FD521B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0" name="íṩlîďê"/>
              <p:cNvSpPr/>
              <p:nvPr/>
            </p:nvSpPr>
            <p:spPr>
              <a:xfrm>
                <a:off x="5324802" y="5728146"/>
                <a:ext cx="274717" cy="83649"/>
              </a:xfrm>
              <a:custGeom>
                <a:avLst/>
                <a:gdLst>
                  <a:gd name="connsiteX0" fmla="*/ 269636 w 274717"/>
                  <a:gd name="connsiteY0" fmla="*/ 83585 h 83649"/>
                  <a:gd name="connsiteX1" fmla="*/ 268435 w 274717"/>
                  <a:gd name="connsiteY1" fmla="*/ 83585 h 83649"/>
                  <a:gd name="connsiteX2" fmla="*/ 1977 w 274717"/>
                  <a:gd name="connsiteY2" fmla="*/ 8484 h 83649"/>
                  <a:gd name="connsiteX3" fmla="*/ -878 w 274717"/>
                  <a:gd name="connsiteY3" fmla="*/ 3302 h 83649"/>
                  <a:gd name="connsiteX4" fmla="*/ -878 w 274717"/>
                  <a:gd name="connsiteY4" fmla="*/ 3077 h 83649"/>
                  <a:gd name="connsiteX5" fmla="*/ 4381 w 274717"/>
                  <a:gd name="connsiteY5" fmla="*/ 73 h 83649"/>
                  <a:gd name="connsiteX6" fmla="*/ 270839 w 274717"/>
                  <a:gd name="connsiteY6" fmla="*/ 75174 h 83649"/>
                  <a:gd name="connsiteX7" fmla="*/ 273391 w 274717"/>
                  <a:gd name="connsiteY7" fmla="*/ 80791 h 83649"/>
                  <a:gd name="connsiteX8" fmla="*/ 269636 w 274717"/>
                  <a:gd name="connsiteY8" fmla="*/ 83585 h 836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4717" h="83649">
                    <a:moveTo>
                      <a:pt x="269636" y="83585"/>
                    </a:moveTo>
                    <a:lnTo>
                      <a:pt x="268435" y="83585"/>
                    </a:lnTo>
                    <a:lnTo>
                      <a:pt x="1977" y="8484"/>
                    </a:lnTo>
                    <a:cubicBezTo>
                      <a:pt x="-276" y="7868"/>
                      <a:pt x="-1627" y="5540"/>
                      <a:pt x="-878" y="3302"/>
                    </a:cubicBezTo>
                    <a:cubicBezTo>
                      <a:pt x="-878" y="3227"/>
                      <a:pt x="-878" y="3152"/>
                      <a:pt x="-878" y="3077"/>
                    </a:cubicBezTo>
                    <a:cubicBezTo>
                      <a:pt x="-276" y="824"/>
                      <a:pt x="2128" y="-513"/>
                      <a:pt x="4381" y="73"/>
                    </a:cubicBezTo>
                    <a:lnTo>
                      <a:pt x="270839" y="75174"/>
                    </a:lnTo>
                    <a:cubicBezTo>
                      <a:pt x="273091" y="76030"/>
                      <a:pt x="274143" y="78554"/>
                      <a:pt x="273391" y="80791"/>
                    </a:cubicBezTo>
                    <a:cubicBezTo>
                      <a:pt x="272792" y="82369"/>
                      <a:pt x="271288" y="83450"/>
                      <a:pt x="269636" y="83585"/>
                    </a:cubicBezTo>
                    <a:close/>
                  </a:path>
                </a:pathLst>
              </a:custGeom>
              <a:solidFill>
                <a:srgbClr val="FD521B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1" name="isľîḍé"/>
              <p:cNvSpPr/>
              <p:nvPr/>
            </p:nvSpPr>
            <p:spPr>
              <a:xfrm>
                <a:off x="5310256" y="5702398"/>
                <a:ext cx="297170" cy="42307"/>
              </a:xfrm>
              <a:custGeom>
                <a:avLst/>
                <a:gdLst>
                  <a:gd name="connsiteX0" fmla="*/ 291242 w 297170"/>
                  <a:gd name="connsiteY0" fmla="*/ 42192 h 42307"/>
                  <a:gd name="connsiteX1" fmla="*/ 291242 w 297170"/>
                  <a:gd name="connsiteY1" fmla="*/ 42192 h 42307"/>
                  <a:gd name="connsiteX2" fmla="*/ 2705 w 297170"/>
                  <a:gd name="connsiteY2" fmla="*/ 8547 h 42307"/>
                  <a:gd name="connsiteX3" fmla="*/ -1050 w 297170"/>
                  <a:gd name="connsiteY3" fmla="*/ 3741 h 42307"/>
                  <a:gd name="connsiteX4" fmla="*/ 3607 w 297170"/>
                  <a:gd name="connsiteY4" fmla="*/ -45 h 42307"/>
                  <a:gd name="connsiteX5" fmla="*/ 3757 w 297170"/>
                  <a:gd name="connsiteY5" fmla="*/ -15 h 42307"/>
                  <a:gd name="connsiteX6" fmla="*/ 292295 w 297170"/>
                  <a:gd name="connsiteY6" fmla="*/ 33631 h 42307"/>
                  <a:gd name="connsiteX7" fmla="*/ 296050 w 297170"/>
                  <a:gd name="connsiteY7" fmla="*/ 38437 h 42307"/>
                  <a:gd name="connsiteX8" fmla="*/ 291392 w 297170"/>
                  <a:gd name="connsiteY8" fmla="*/ 42222 h 42307"/>
                  <a:gd name="connsiteX9" fmla="*/ 291242 w 297170"/>
                  <a:gd name="connsiteY9" fmla="*/ 42192 h 4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97170" h="42307">
                    <a:moveTo>
                      <a:pt x="291242" y="42192"/>
                    </a:moveTo>
                    <a:lnTo>
                      <a:pt x="291242" y="42192"/>
                    </a:lnTo>
                    <a:lnTo>
                      <a:pt x="2705" y="8547"/>
                    </a:lnTo>
                    <a:cubicBezTo>
                      <a:pt x="301" y="8232"/>
                      <a:pt x="-1351" y="6098"/>
                      <a:pt x="-1050" y="3741"/>
                    </a:cubicBezTo>
                    <a:cubicBezTo>
                      <a:pt x="-900" y="1428"/>
                      <a:pt x="1203" y="-270"/>
                      <a:pt x="3607" y="-45"/>
                    </a:cubicBezTo>
                    <a:cubicBezTo>
                      <a:pt x="3607" y="-30"/>
                      <a:pt x="3757" y="-30"/>
                      <a:pt x="3757" y="-15"/>
                    </a:cubicBezTo>
                    <a:lnTo>
                      <a:pt x="292295" y="33631"/>
                    </a:lnTo>
                    <a:cubicBezTo>
                      <a:pt x="294698" y="33946"/>
                      <a:pt x="296350" y="36079"/>
                      <a:pt x="296050" y="38437"/>
                    </a:cubicBezTo>
                    <a:cubicBezTo>
                      <a:pt x="295899" y="40750"/>
                      <a:pt x="293796" y="42448"/>
                      <a:pt x="291392" y="42222"/>
                    </a:cubicBezTo>
                    <a:cubicBezTo>
                      <a:pt x="291392" y="42207"/>
                      <a:pt x="291242" y="42207"/>
                      <a:pt x="291242" y="42192"/>
                    </a:cubicBezTo>
                    <a:close/>
                  </a:path>
                </a:pathLst>
              </a:custGeom>
              <a:solidFill>
                <a:srgbClr val="FD521B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2" name="íṩļïdê"/>
              <p:cNvSpPr/>
              <p:nvPr/>
            </p:nvSpPr>
            <p:spPr>
              <a:xfrm>
                <a:off x="6121231" y="5950359"/>
                <a:ext cx="337814" cy="212609"/>
              </a:xfrm>
              <a:custGeom>
                <a:avLst/>
                <a:gdLst>
                  <a:gd name="connsiteX0" fmla="*/ 299920 w 337814"/>
                  <a:gd name="connsiteY0" fmla="*/ 35607 h 212609"/>
                  <a:gd name="connsiteX1" fmla="*/ 239839 w 337814"/>
                  <a:gd name="connsiteY1" fmla="*/ 2562 h 212609"/>
                  <a:gd name="connsiteX2" fmla="*/ 50735 w 337814"/>
                  <a:gd name="connsiteY2" fmla="*/ 59188 h 212609"/>
                  <a:gd name="connsiteX3" fmla="*/ 32409 w 337814"/>
                  <a:gd name="connsiteY3" fmla="*/ 161175 h 212609"/>
                  <a:gd name="connsiteX4" fmla="*/ -1086 w 337814"/>
                  <a:gd name="connsiteY4" fmla="*/ 161175 h 212609"/>
                  <a:gd name="connsiteX5" fmla="*/ 6725 w 337814"/>
                  <a:gd name="connsiteY5" fmla="*/ 212544 h 212609"/>
                  <a:gd name="connsiteX6" fmla="*/ 333264 w 337814"/>
                  <a:gd name="connsiteY6" fmla="*/ 212544 h 212609"/>
                  <a:gd name="connsiteX7" fmla="*/ 335518 w 337814"/>
                  <a:gd name="connsiteY7" fmla="*/ 189413 h 212609"/>
                  <a:gd name="connsiteX8" fmla="*/ 335518 w 337814"/>
                  <a:gd name="connsiteY8" fmla="*/ 189413 h 212609"/>
                  <a:gd name="connsiteX9" fmla="*/ 299920 w 337814"/>
                  <a:gd name="connsiteY9" fmla="*/ 35607 h 2126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37814" h="212609">
                    <a:moveTo>
                      <a:pt x="299920" y="35607"/>
                    </a:moveTo>
                    <a:cubicBezTo>
                      <a:pt x="279192" y="25933"/>
                      <a:pt x="259065" y="14894"/>
                      <a:pt x="239839" y="2562"/>
                    </a:cubicBezTo>
                    <a:cubicBezTo>
                      <a:pt x="166841" y="-4197"/>
                      <a:pt x="65154" y="-1944"/>
                      <a:pt x="50735" y="59188"/>
                    </a:cubicBezTo>
                    <a:cubicBezTo>
                      <a:pt x="42323" y="92743"/>
                      <a:pt x="36164" y="126809"/>
                      <a:pt x="32409" y="161175"/>
                    </a:cubicBezTo>
                    <a:lnTo>
                      <a:pt x="-1086" y="161175"/>
                    </a:lnTo>
                    <a:cubicBezTo>
                      <a:pt x="-334" y="178524"/>
                      <a:pt x="2369" y="195737"/>
                      <a:pt x="6725" y="212544"/>
                    </a:cubicBezTo>
                    <a:cubicBezTo>
                      <a:pt x="6725" y="212544"/>
                      <a:pt x="213403" y="211042"/>
                      <a:pt x="333264" y="212544"/>
                    </a:cubicBezTo>
                    <a:cubicBezTo>
                      <a:pt x="333264" y="212544"/>
                      <a:pt x="334317" y="205485"/>
                      <a:pt x="335518" y="189413"/>
                    </a:cubicBezTo>
                    <a:lnTo>
                      <a:pt x="335518" y="189413"/>
                    </a:lnTo>
                    <a:cubicBezTo>
                      <a:pt x="338370" y="144202"/>
                      <a:pt x="339423" y="56785"/>
                      <a:pt x="299920" y="35607"/>
                    </a:cubicBezTo>
                    <a:close/>
                  </a:path>
                </a:pathLst>
              </a:custGeom>
              <a:solidFill>
                <a:srgbClr val="FFFFFF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3" name="íşļïďe"/>
              <p:cNvSpPr/>
              <p:nvPr/>
            </p:nvSpPr>
            <p:spPr>
              <a:xfrm>
                <a:off x="6115674" y="5944412"/>
                <a:ext cx="349511" cy="224263"/>
              </a:xfrm>
              <a:custGeom>
                <a:avLst/>
                <a:gdLst>
                  <a:gd name="connsiteX0" fmla="*/ 12433 w 349511"/>
                  <a:gd name="connsiteY0" fmla="*/ 224198 h 224263"/>
                  <a:gd name="connsiteX1" fmla="*/ 7327 w 349511"/>
                  <a:gd name="connsiteY1" fmla="*/ 221194 h 224263"/>
                  <a:gd name="connsiteX2" fmla="*/ -1086 w 349511"/>
                  <a:gd name="connsiteY2" fmla="*/ 167572 h 224263"/>
                  <a:gd name="connsiteX3" fmla="*/ 416 w 349511"/>
                  <a:gd name="connsiteY3" fmla="*/ 163216 h 224263"/>
                  <a:gd name="connsiteX4" fmla="*/ 4622 w 349511"/>
                  <a:gd name="connsiteY4" fmla="*/ 161414 h 224263"/>
                  <a:gd name="connsiteX5" fmla="*/ 32860 w 349511"/>
                  <a:gd name="connsiteY5" fmla="*/ 161414 h 224263"/>
                  <a:gd name="connsiteX6" fmla="*/ 50885 w 349511"/>
                  <a:gd name="connsiteY6" fmla="*/ 63933 h 224263"/>
                  <a:gd name="connsiteX7" fmla="*/ 246148 w 349511"/>
                  <a:gd name="connsiteY7" fmla="*/ 2800 h 224263"/>
                  <a:gd name="connsiteX8" fmla="*/ 249151 w 349511"/>
                  <a:gd name="connsiteY8" fmla="*/ 4002 h 224263"/>
                  <a:gd name="connsiteX9" fmla="*/ 283097 w 349511"/>
                  <a:gd name="connsiteY9" fmla="*/ 23378 h 224263"/>
                  <a:gd name="connsiteX10" fmla="*/ 308631 w 349511"/>
                  <a:gd name="connsiteY10" fmla="*/ 36596 h 224263"/>
                  <a:gd name="connsiteX11" fmla="*/ 346933 w 349511"/>
                  <a:gd name="connsiteY11" fmla="*/ 195359 h 224263"/>
                  <a:gd name="connsiteX12" fmla="*/ 344680 w 349511"/>
                  <a:gd name="connsiteY12" fmla="*/ 219091 h 224263"/>
                  <a:gd name="connsiteX13" fmla="*/ 339122 w 349511"/>
                  <a:gd name="connsiteY13" fmla="*/ 223898 h 224263"/>
                  <a:gd name="connsiteX14" fmla="*/ 339122 w 349511"/>
                  <a:gd name="connsiteY14" fmla="*/ 223898 h 224263"/>
                  <a:gd name="connsiteX15" fmla="*/ 12583 w 349511"/>
                  <a:gd name="connsiteY15" fmla="*/ 223898 h 224263"/>
                  <a:gd name="connsiteX16" fmla="*/ 10931 w 349511"/>
                  <a:gd name="connsiteY16" fmla="*/ 172829 h 224263"/>
                  <a:gd name="connsiteX17" fmla="*/ 16338 w 349511"/>
                  <a:gd name="connsiteY17" fmla="*/ 212783 h 224263"/>
                  <a:gd name="connsiteX18" fmla="*/ 333866 w 349511"/>
                  <a:gd name="connsiteY18" fmla="*/ 212783 h 224263"/>
                  <a:gd name="connsiteX19" fmla="*/ 335518 w 349511"/>
                  <a:gd name="connsiteY19" fmla="*/ 194909 h 224263"/>
                  <a:gd name="connsiteX20" fmla="*/ 303224 w 349511"/>
                  <a:gd name="connsiteY20" fmla="*/ 46810 h 224263"/>
                  <a:gd name="connsiteX21" fmla="*/ 277840 w 349511"/>
                  <a:gd name="connsiteY21" fmla="*/ 33742 h 224263"/>
                  <a:gd name="connsiteX22" fmla="*/ 243293 w 349511"/>
                  <a:gd name="connsiteY22" fmla="*/ 14216 h 224263"/>
                  <a:gd name="connsiteX23" fmla="*/ 62000 w 349511"/>
                  <a:gd name="connsiteY23" fmla="*/ 66786 h 224263"/>
                  <a:gd name="connsiteX24" fmla="*/ 43674 w 349511"/>
                  <a:gd name="connsiteY24" fmla="*/ 168022 h 224263"/>
                  <a:gd name="connsiteX25" fmla="*/ 38117 w 349511"/>
                  <a:gd name="connsiteY25" fmla="*/ 173129 h 224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349511" h="224263">
                    <a:moveTo>
                      <a:pt x="12433" y="224198"/>
                    </a:moveTo>
                    <a:cubicBezTo>
                      <a:pt x="10330" y="224168"/>
                      <a:pt x="8377" y="223027"/>
                      <a:pt x="7327" y="221194"/>
                    </a:cubicBezTo>
                    <a:cubicBezTo>
                      <a:pt x="2519" y="203681"/>
                      <a:pt x="-184" y="185701"/>
                      <a:pt x="-1086" y="167572"/>
                    </a:cubicBezTo>
                    <a:cubicBezTo>
                      <a:pt x="-1086" y="165995"/>
                      <a:pt x="-635" y="164448"/>
                      <a:pt x="416" y="163216"/>
                    </a:cubicBezTo>
                    <a:cubicBezTo>
                      <a:pt x="1619" y="162105"/>
                      <a:pt x="2970" y="161474"/>
                      <a:pt x="4622" y="161414"/>
                    </a:cubicBezTo>
                    <a:lnTo>
                      <a:pt x="32860" y="161414"/>
                    </a:lnTo>
                    <a:cubicBezTo>
                      <a:pt x="36916" y="128594"/>
                      <a:pt x="43075" y="96046"/>
                      <a:pt x="50885" y="63933"/>
                    </a:cubicBezTo>
                    <a:cubicBezTo>
                      <a:pt x="59145" y="28635"/>
                      <a:pt x="99701" y="-11168"/>
                      <a:pt x="246148" y="2800"/>
                    </a:cubicBezTo>
                    <a:cubicBezTo>
                      <a:pt x="247199" y="2906"/>
                      <a:pt x="248249" y="3326"/>
                      <a:pt x="249151" y="4002"/>
                    </a:cubicBezTo>
                    <a:cubicBezTo>
                      <a:pt x="259815" y="11482"/>
                      <a:pt x="271231" y="17971"/>
                      <a:pt x="283097" y="23378"/>
                    </a:cubicBezTo>
                    <a:cubicBezTo>
                      <a:pt x="290607" y="27133"/>
                      <a:pt x="299168" y="31489"/>
                      <a:pt x="308631" y="36596"/>
                    </a:cubicBezTo>
                    <a:cubicBezTo>
                      <a:pt x="350387" y="58826"/>
                      <a:pt x="350688" y="145642"/>
                      <a:pt x="346933" y="195359"/>
                    </a:cubicBezTo>
                    <a:cubicBezTo>
                      <a:pt x="346632" y="203305"/>
                      <a:pt x="345881" y="211221"/>
                      <a:pt x="344680" y="219091"/>
                    </a:cubicBezTo>
                    <a:cubicBezTo>
                      <a:pt x="344229" y="221870"/>
                      <a:pt x="341975" y="223928"/>
                      <a:pt x="339122" y="223898"/>
                    </a:cubicBezTo>
                    <a:lnTo>
                      <a:pt x="339122" y="223898"/>
                    </a:lnTo>
                    <a:cubicBezTo>
                      <a:pt x="220613" y="222546"/>
                      <a:pt x="14686" y="223898"/>
                      <a:pt x="12583" y="223898"/>
                    </a:cubicBezTo>
                    <a:close/>
                    <a:moveTo>
                      <a:pt x="10931" y="172829"/>
                    </a:moveTo>
                    <a:cubicBezTo>
                      <a:pt x="11831" y="186257"/>
                      <a:pt x="13634" y="199595"/>
                      <a:pt x="16338" y="212783"/>
                    </a:cubicBezTo>
                    <a:cubicBezTo>
                      <a:pt x="45477" y="212783"/>
                      <a:pt x="224067" y="211431"/>
                      <a:pt x="333866" y="212783"/>
                    </a:cubicBezTo>
                    <a:cubicBezTo>
                      <a:pt x="333866" y="209028"/>
                      <a:pt x="334916" y="203170"/>
                      <a:pt x="335518" y="194909"/>
                    </a:cubicBezTo>
                    <a:cubicBezTo>
                      <a:pt x="343779" y="81356"/>
                      <a:pt x="315690" y="53569"/>
                      <a:pt x="303224" y="46810"/>
                    </a:cubicBezTo>
                    <a:lnTo>
                      <a:pt x="277840" y="33742"/>
                    </a:lnTo>
                    <a:cubicBezTo>
                      <a:pt x="265824" y="28184"/>
                      <a:pt x="254258" y="21666"/>
                      <a:pt x="243293" y="14216"/>
                    </a:cubicBezTo>
                    <a:cubicBezTo>
                      <a:pt x="180658" y="8658"/>
                      <a:pt x="75667" y="8358"/>
                      <a:pt x="62000" y="66786"/>
                    </a:cubicBezTo>
                    <a:cubicBezTo>
                      <a:pt x="53738" y="100101"/>
                      <a:pt x="47580" y="133912"/>
                      <a:pt x="43674" y="168022"/>
                    </a:cubicBezTo>
                    <a:cubicBezTo>
                      <a:pt x="43375" y="170876"/>
                      <a:pt x="40972" y="173069"/>
                      <a:pt x="38117" y="173129"/>
                    </a:cubicBezTo>
                    <a:close/>
                  </a:path>
                </a:pathLst>
              </a:custGeom>
              <a:solidFill>
                <a:srgbClr val="000000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4" name="íṥḻïḓê"/>
              <p:cNvSpPr/>
              <p:nvPr/>
            </p:nvSpPr>
            <p:spPr>
              <a:xfrm>
                <a:off x="4812928" y="5962899"/>
                <a:ext cx="789655" cy="199618"/>
              </a:xfrm>
              <a:custGeom>
                <a:avLst/>
                <a:gdLst>
                  <a:gd name="connsiteX0" fmla="*/ 786018 w 789655"/>
                  <a:gd name="connsiteY0" fmla="*/ 148635 h 199618"/>
                  <a:gd name="connsiteX1" fmla="*/ 232073 w 789655"/>
                  <a:gd name="connsiteY1" fmla="*/ 148635 h 199618"/>
                  <a:gd name="connsiteX2" fmla="*/ 208791 w 789655"/>
                  <a:gd name="connsiteY2" fmla="*/ -65 h 199618"/>
                  <a:gd name="connsiteX3" fmla="*/ 72709 w 789655"/>
                  <a:gd name="connsiteY3" fmla="*/ 19461 h 199618"/>
                  <a:gd name="connsiteX4" fmla="*/ -440 w 789655"/>
                  <a:gd name="connsiteY4" fmla="*/ 113263 h 199618"/>
                  <a:gd name="connsiteX5" fmla="*/ 310 w 789655"/>
                  <a:gd name="connsiteY5" fmla="*/ 118144 h 199618"/>
                  <a:gd name="connsiteX6" fmla="*/ 5868 w 789655"/>
                  <a:gd name="connsiteY6" fmla="*/ 148185 h 199618"/>
                  <a:gd name="connsiteX7" fmla="*/ 5868 w 789655"/>
                  <a:gd name="connsiteY7" fmla="*/ 148185 h 199618"/>
                  <a:gd name="connsiteX8" fmla="*/ 15331 w 789655"/>
                  <a:gd name="connsiteY8" fmla="*/ 199554 h 199618"/>
                  <a:gd name="connsiteX9" fmla="*/ 788570 w 789655"/>
                  <a:gd name="connsiteY9" fmla="*/ 199554 h 199618"/>
                  <a:gd name="connsiteX10" fmla="*/ 786018 w 789655"/>
                  <a:gd name="connsiteY10" fmla="*/ 148635 h 1996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89655" h="199618">
                    <a:moveTo>
                      <a:pt x="786018" y="148635"/>
                    </a:moveTo>
                    <a:lnTo>
                      <a:pt x="232073" y="148635"/>
                    </a:lnTo>
                    <a:lnTo>
                      <a:pt x="208791" y="-65"/>
                    </a:lnTo>
                    <a:cubicBezTo>
                      <a:pt x="160577" y="7896"/>
                      <a:pt x="112212" y="14955"/>
                      <a:pt x="72709" y="19461"/>
                    </a:cubicBezTo>
                    <a:cubicBezTo>
                      <a:pt x="26596" y="25169"/>
                      <a:pt x="-6147" y="67166"/>
                      <a:pt x="-440" y="113263"/>
                    </a:cubicBezTo>
                    <a:cubicBezTo>
                      <a:pt x="-289" y="114900"/>
                      <a:pt x="10" y="116522"/>
                      <a:pt x="310" y="118144"/>
                    </a:cubicBezTo>
                    <a:lnTo>
                      <a:pt x="5868" y="148185"/>
                    </a:lnTo>
                    <a:lnTo>
                      <a:pt x="5868" y="148185"/>
                    </a:lnTo>
                    <a:lnTo>
                      <a:pt x="15331" y="199554"/>
                    </a:lnTo>
                    <a:lnTo>
                      <a:pt x="788570" y="199554"/>
                    </a:lnTo>
                    <a:cubicBezTo>
                      <a:pt x="788570" y="199554"/>
                      <a:pt x="787519" y="172217"/>
                      <a:pt x="786018" y="148635"/>
                    </a:cubicBezTo>
                    <a:close/>
                  </a:path>
                </a:pathLst>
              </a:custGeom>
              <a:solidFill>
                <a:srgbClr val="FFFFFF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5" name="ís1iďê"/>
              <p:cNvSpPr/>
              <p:nvPr/>
            </p:nvSpPr>
            <p:spPr>
              <a:xfrm>
                <a:off x="4807363" y="5957291"/>
                <a:ext cx="800351" cy="211384"/>
              </a:xfrm>
              <a:custGeom>
                <a:avLst/>
                <a:gdLst>
                  <a:gd name="connsiteX0" fmla="*/ 794135 w 800351"/>
                  <a:gd name="connsiteY0" fmla="*/ 211320 h 211384"/>
                  <a:gd name="connsiteX1" fmla="*/ 20896 w 800351"/>
                  <a:gd name="connsiteY1" fmla="*/ 211320 h 211384"/>
                  <a:gd name="connsiteX2" fmla="*/ 15338 w 800351"/>
                  <a:gd name="connsiteY2" fmla="*/ 206664 h 211384"/>
                  <a:gd name="connsiteX3" fmla="*/ 318 w 800351"/>
                  <a:gd name="connsiteY3" fmla="*/ 124653 h 211384"/>
                  <a:gd name="connsiteX4" fmla="*/ 73316 w 800351"/>
                  <a:gd name="connsiteY4" fmla="*/ 20158 h 211384"/>
                  <a:gd name="connsiteX5" fmla="*/ 77522 w 800351"/>
                  <a:gd name="connsiteY5" fmla="*/ 19512 h 211384"/>
                  <a:gd name="connsiteX6" fmla="*/ 212704 w 800351"/>
                  <a:gd name="connsiteY6" fmla="*/ -14 h 211384"/>
                  <a:gd name="connsiteX7" fmla="*/ 217060 w 800351"/>
                  <a:gd name="connsiteY7" fmla="*/ 1037 h 211384"/>
                  <a:gd name="connsiteX8" fmla="*/ 219314 w 800351"/>
                  <a:gd name="connsiteY8" fmla="*/ 4792 h 211384"/>
                  <a:gd name="connsiteX9" fmla="*/ 241844 w 800351"/>
                  <a:gd name="connsiteY9" fmla="*/ 148686 h 211384"/>
                  <a:gd name="connsiteX10" fmla="*/ 790981 w 800351"/>
                  <a:gd name="connsiteY10" fmla="*/ 148686 h 211384"/>
                  <a:gd name="connsiteX11" fmla="*/ 796689 w 800351"/>
                  <a:gd name="connsiteY11" fmla="*/ 153943 h 211384"/>
                  <a:gd name="connsiteX12" fmla="*/ 799243 w 800351"/>
                  <a:gd name="connsiteY12" fmla="*/ 205612 h 211384"/>
                  <a:gd name="connsiteX13" fmla="*/ 797742 w 800351"/>
                  <a:gd name="connsiteY13" fmla="*/ 209818 h 211384"/>
                  <a:gd name="connsiteX14" fmla="*/ 794135 w 800351"/>
                  <a:gd name="connsiteY14" fmla="*/ 211320 h 211384"/>
                  <a:gd name="connsiteX15" fmla="*/ 25703 w 800351"/>
                  <a:gd name="connsiteY15" fmla="*/ 199905 h 211384"/>
                  <a:gd name="connsiteX16" fmla="*/ 788279 w 800351"/>
                  <a:gd name="connsiteY16" fmla="*/ 199905 h 211384"/>
                  <a:gd name="connsiteX17" fmla="*/ 786326 w 800351"/>
                  <a:gd name="connsiteY17" fmla="*/ 159951 h 211384"/>
                  <a:gd name="connsiteX18" fmla="*/ 237638 w 800351"/>
                  <a:gd name="connsiteY18" fmla="*/ 159951 h 211384"/>
                  <a:gd name="connsiteX19" fmla="*/ 231930 w 800351"/>
                  <a:gd name="connsiteY19" fmla="*/ 155144 h 211384"/>
                  <a:gd name="connsiteX20" fmla="*/ 209249 w 800351"/>
                  <a:gd name="connsiteY20" fmla="*/ 12603 h 211384"/>
                  <a:gd name="connsiteX21" fmla="*/ 78574 w 800351"/>
                  <a:gd name="connsiteY21" fmla="*/ 31228 h 211384"/>
                  <a:gd name="connsiteX22" fmla="*/ 10533 w 800351"/>
                  <a:gd name="connsiteY22" fmla="*/ 119306 h 211384"/>
                  <a:gd name="connsiteX23" fmla="*/ 11134 w 800351"/>
                  <a:gd name="connsiteY23" fmla="*/ 123301 h 211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800351" h="211384">
                    <a:moveTo>
                      <a:pt x="794135" y="211320"/>
                    </a:moveTo>
                    <a:lnTo>
                      <a:pt x="20896" y="211320"/>
                    </a:lnTo>
                    <a:cubicBezTo>
                      <a:pt x="18193" y="211290"/>
                      <a:pt x="15789" y="209337"/>
                      <a:pt x="15338" y="206664"/>
                    </a:cubicBezTo>
                    <a:lnTo>
                      <a:pt x="318" y="124653"/>
                    </a:lnTo>
                    <a:cubicBezTo>
                      <a:pt x="-8393" y="75642"/>
                      <a:pt x="24350" y="28870"/>
                      <a:pt x="73316" y="20158"/>
                    </a:cubicBezTo>
                    <a:cubicBezTo>
                      <a:pt x="74669" y="19917"/>
                      <a:pt x="76171" y="19692"/>
                      <a:pt x="77522" y="19512"/>
                    </a:cubicBezTo>
                    <a:cubicBezTo>
                      <a:pt x="126638" y="13353"/>
                      <a:pt x="172451" y="6895"/>
                      <a:pt x="212704" y="-14"/>
                    </a:cubicBezTo>
                    <a:cubicBezTo>
                      <a:pt x="214205" y="-210"/>
                      <a:pt x="215857" y="166"/>
                      <a:pt x="217060" y="1037"/>
                    </a:cubicBezTo>
                    <a:cubicBezTo>
                      <a:pt x="218261" y="1968"/>
                      <a:pt x="219013" y="3305"/>
                      <a:pt x="219314" y="4792"/>
                    </a:cubicBezTo>
                    <a:lnTo>
                      <a:pt x="241844" y="148686"/>
                    </a:lnTo>
                    <a:lnTo>
                      <a:pt x="790981" y="148686"/>
                    </a:lnTo>
                    <a:cubicBezTo>
                      <a:pt x="793987" y="148746"/>
                      <a:pt x="796389" y="150999"/>
                      <a:pt x="796689" y="153943"/>
                    </a:cubicBezTo>
                    <a:cubicBezTo>
                      <a:pt x="798191" y="176773"/>
                      <a:pt x="799243" y="205312"/>
                      <a:pt x="799243" y="205612"/>
                    </a:cubicBezTo>
                    <a:cubicBezTo>
                      <a:pt x="799394" y="207159"/>
                      <a:pt x="798792" y="208691"/>
                      <a:pt x="797742" y="209818"/>
                    </a:cubicBezTo>
                    <a:cubicBezTo>
                      <a:pt x="796689" y="210704"/>
                      <a:pt x="795488" y="211230"/>
                      <a:pt x="794135" y="211320"/>
                    </a:cubicBezTo>
                    <a:close/>
                    <a:moveTo>
                      <a:pt x="25703" y="199905"/>
                    </a:moveTo>
                    <a:lnTo>
                      <a:pt x="788279" y="199905"/>
                    </a:lnTo>
                    <a:cubicBezTo>
                      <a:pt x="788279" y="191493"/>
                      <a:pt x="787226" y="174971"/>
                      <a:pt x="786326" y="159951"/>
                    </a:cubicBezTo>
                    <a:lnTo>
                      <a:pt x="237638" y="159951"/>
                    </a:lnTo>
                    <a:cubicBezTo>
                      <a:pt x="234783" y="159921"/>
                      <a:pt x="232381" y="157908"/>
                      <a:pt x="231930" y="155144"/>
                    </a:cubicBezTo>
                    <a:lnTo>
                      <a:pt x="209249" y="12603"/>
                    </a:lnTo>
                    <a:cubicBezTo>
                      <a:pt x="169596" y="19061"/>
                      <a:pt x="125736" y="25370"/>
                      <a:pt x="78574" y="31228"/>
                    </a:cubicBezTo>
                    <a:cubicBezTo>
                      <a:pt x="35467" y="36755"/>
                      <a:pt x="4975" y="76183"/>
                      <a:pt x="10533" y="119306"/>
                    </a:cubicBezTo>
                    <a:cubicBezTo>
                      <a:pt x="10683" y="120643"/>
                      <a:pt x="10833" y="121980"/>
                      <a:pt x="11134" y="123301"/>
                    </a:cubicBezTo>
                    <a:close/>
                  </a:path>
                </a:pathLst>
              </a:custGeom>
              <a:solidFill>
                <a:srgbClr val="000000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6" name="îşḻiďé"/>
              <p:cNvSpPr/>
              <p:nvPr/>
            </p:nvSpPr>
            <p:spPr>
              <a:xfrm>
                <a:off x="6119091" y="5781104"/>
                <a:ext cx="238788" cy="45261"/>
              </a:xfrm>
              <a:custGeom>
                <a:avLst/>
                <a:gdLst>
                  <a:gd name="connsiteX0" fmla="*/ 234319 w 238788"/>
                  <a:gd name="connsiteY0" fmla="*/ 45197 h 45261"/>
                  <a:gd name="connsiteX1" fmla="*/ 234319 w 238788"/>
                  <a:gd name="connsiteY1" fmla="*/ 45197 h 45261"/>
                  <a:gd name="connsiteX2" fmla="*/ 2557 w 238788"/>
                  <a:gd name="connsiteY2" fmla="*/ 8547 h 45261"/>
                  <a:gd name="connsiteX3" fmla="*/ -1048 w 238788"/>
                  <a:gd name="connsiteY3" fmla="*/ 3591 h 45261"/>
                  <a:gd name="connsiteX4" fmla="*/ 3910 w 238788"/>
                  <a:gd name="connsiteY4" fmla="*/ -14 h 45261"/>
                  <a:gd name="connsiteX5" fmla="*/ 234169 w 238788"/>
                  <a:gd name="connsiteY5" fmla="*/ 36635 h 45261"/>
                  <a:gd name="connsiteX6" fmla="*/ 237623 w 238788"/>
                  <a:gd name="connsiteY6" fmla="*/ 41727 h 45261"/>
                  <a:gd name="connsiteX7" fmla="*/ 234169 w 238788"/>
                  <a:gd name="connsiteY7" fmla="*/ 45197 h 45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8788" h="45261">
                    <a:moveTo>
                      <a:pt x="234319" y="45197"/>
                    </a:moveTo>
                    <a:lnTo>
                      <a:pt x="234319" y="45197"/>
                    </a:lnTo>
                    <a:lnTo>
                      <a:pt x="2557" y="8547"/>
                    </a:lnTo>
                    <a:cubicBezTo>
                      <a:pt x="155" y="8157"/>
                      <a:pt x="-1347" y="5949"/>
                      <a:pt x="-1048" y="3591"/>
                    </a:cubicBezTo>
                    <a:cubicBezTo>
                      <a:pt x="-597" y="1232"/>
                      <a:pt x="1506" y="-375"/>
                      <a:pt x="3910" y="-14"/>
                    </a:cubicBezTo>
                    <a:lnTo>
                      <a:pt x="234169" y="36635"/>
                    </a:lnTo>
                    <a:cubicBezTo>
                      <a:pt x="236573" y="37086"/>
                      <a:pt x="238074" y="39354"/>
                      <a:pt x="237623" y="41727"/>
                    </a:cubicBezTo>
                    <a:cubicBezTo>
                      <a:pt x="237323" y="43484"/>
                      <a:pt x="235971" y="44866"/>
                      <a:pt x="234169" y="45197"/>
                    </a:cubicBezTo>
                    <a:close/>
                  </a:path>
                </a:pathLst>
              </a:custGeom>
              <a:solidFill>
                <a:srgbClr val="FD521B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7" name="ï$ḻiḓê"/>
              <p:cNvSpPr/>
              <p:nvPr/>
            </p:nvSpPr>
            <p:spPr>
              <a:xfrm>
                <a:off x="6120022" y="5737134"/>
                <a:ext cx="241682" cy="18035"/>
              </a:xfrm>
              <a:custGeom>
                <a:avLst/>
                <a:gdLst>
                  <a:gd name="connsiteX0" fmla="*/ 3279 w 241682"/>
                  <a:gd name="connsiteY0" fmla="*/ 17970 h 18035"/>
                  <a:gd name="connsiteX1" fmla="*/ -1078 w 241682"/>
                  <a:gd name="connsiteY1" fmla="*/ 13915 h 18035"/>
                  <a:gd name="connsiteX2" fmla="*/ 3129 w 241682"/>
                  <a:gd name="connsiteY2" fmla="*/ 9409 h 18035"/>
                  <a:gd name="connsiteX3" fmla="*/ 3129 w 241682"/>
                  <a:gd name="connsiteY3" fmla="*/ 9409 h 18035"/>
                  <a:gd name="connsiteX4" fmla="*/ 236092 w 241682"/>
                  <a:gd name="connsiteY4" fmla="*/ -54 h 18035"/>
                  <a:gd name="connsiteX5" fmla="*/ 240597 w 241682"/>
                  <a:gd name="connsiteY5" fmla="*/ 3836 h 18035"/>
                  <a:gd name="connsiteX6" fmla="*/ 240597 w 241682"/>
                  <a:gd name="connsiteY6" fmla="*/ 4001 h 18035"/>
                  <a:gd name="connsiteX7" fmla="*/ 236391 w 241682"/>
                  <a:gd name="connsiteY7" fmla="*/ 8508 h 18035"/>
                  <a:gd name="connsiteX8" fmla="*/ 3427 w 241682"/>
                  <a:gd name="connsiteY8" fmla="*/ 17970 h 180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1682" h="18035">
                    <a:moveTo>
                      <a:pt x="3279" y="17970"/>
                    </a:moveTo>
                    <a:cubicBezTo>
                      <a:pt x="1026" y="17970"/>
                      <a:pt x="-927" y="16198"/>
                      <a:pt x="-1078" y="13915"/>
                    </a:cubicBezTo>
                    <a:cubicBezTo>
                      <a:pt x="-1228" y="11511"/>
                      <a:pt x="725" y="9499"/>
                      <a:pt x="3129" y="9409"/>
                    </a:cubicBezTo>
                    <a:cubicBezTo>
                      <a:pt x="3129" y="9409"/>
                      <a:pt x="3129" y="9409"/>
                      <a:pt x="3129" y="9409"/>
                    </a:cubicBezTo>
                    <a:lnTo>
                      <a:pt x="236092" y="-54"/>
                    </a:lnTo>
                    <a:cubicBezTo>
                      <a:pt x="238344" y="-219"/>
                      <a:pt x="240447" y="1523"/>
                      <a:pt x="240597" y="3836"/>
                    </a:cubicBezTo>
                    <a:cubicBezTo>
                      <a:pt x="240597" y="3896"/>
                      <a:pt x="240597" y="3941"/>
                      <a:pt x="240597" y="4001"/>
                    </a:cubicBezTo>
                    <a:cubicBezTo>
                      <a:pt x="240597" y="6375"/>
                      <a:pt x="238795" y="8342"/>
                      <a:pt x="236391" y="8508"/>
                    </a:cubicBezTo>
                    <a:lnTo>
                      <a:pt x="3427" y="17970"/>
                    </a:lnTo>
                    <a:close/>
                  </a:path>
                </a:pathLst>
              </a:custGeom>
              <a:solidFill>
                <a:srgbClr val="FD521B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" name="iSľîďê"/>
              <p:cNvSpPr/>
              <p:nvPr/>
            </p:nvSpPr>
            <p:spPr>
              <a:xfrm>
                <a:off x="5137113" y="5623553"/>
                <a:ext cx="195370" cy="116467"/>
              </a:xfrm>
              <a:custGeom>
                <a:avLst/>
                <a:gdLst>
                  <a:gd name="connsiteX0" fmla="*/ 144005 w 195370"/>
                  <a:gd name="connsiteY0" fmla="*/ 116381 h 116467"/>
                  <a:gd name="connsiteX1" fmla="*/ 67252 w 195370"/>
                  <a:gd name="connsiteY1" fmla="*/ 109021 h 116467"/>
                  <a:gd name="connsiteX2" fmla="*/ 4617 w 195370"/>
                  <a:gd name="connsiteY2" fmla="*/ 67565 h 116467"/>
                  <a:gd name="connsiteX3" fmla="*/ 2365 w 195370"/>
                  <a:gd name="connsiteY3" fmla="*/ 27011 h 116467"/>
                  <a:gd name="connsiteX4" fmla="*/ 33306 w 195370"/>
                  <a:gd name="connsiteY4" fmla="*/ 1626 h 116467"/>
                  <a:gd name="connsiteX5" fmla="*/ 106755 w 195370"/>
                  <a:gd name="connsiteY5" fmla="*/ 19500 h 116467"/>
                  <a:gd name="connsiteX6" fmla="*/ 106755 w 195370"/>
                  <a:gd name="connsiteY6" fmla="*/ 19500 h 116467"/>
                  <a:gd name="connsiteX7" fmla="*/ 193722 w 195370"/>
                  <a:gd name="connsiteY7" fmla="*/ 107218 h 116467"/>
                  <a:gd name="connsiteX8" fmla="*/ 193722 w 195370"/>
                  <a:gd name="connsiteY8" fmla="*/ 111574 h 116467"/>
                  <a:gd name="connsiteX9" fmla="*/ 190118 w 195370"/>
                  <a:gd name="connsiteY9" fmla="*/ 114128 h 116467"/>
                  <a:gd name="connsiteX10" fmla="*/ 144005 w 195370"/>
                  <a:gd name="connsiteY10" fmla="*/ 116381 h 116467"/>
                  <a:gd name="connsiteX11" fmla="*/ 50128 w 195370"/>
                  <a:gd name="connsiteY11" fmla="*/ 7935 h 116467"/>
                  <a:gd name="connsiteX12" fmla="*/ 35108 w 195370"/>
                  <a:gd name="connsiteY12" fmla="*/ 9888 h 116467"/>
                  <a:gd name="connsiteX13" fmla="*/ 9875 w 195370"/>
                  <a:gd name="connsiteY13" fmla="*/ 30465 h 116467"/>
                  <a:gd name="connsiteX14" fmla="*/ 11828 w 195370"/>
                  <a:gd name="connsiteY14" fmla="*/ 63660 h 116467"/>
                  <a:gd name="connsiteX15" fmla="*/ 68753 w 195370"/>
                  <a:gd name="connsiteY15" fmla="*/ 100610 h 116467"/>
                  <a:gd name="connsiteX16" fmla="*/ 181555 w 195370"/>
                  <a:gd name="connsiteY16" fmla="*/ 106167 h 116467"/>
                  <a:gd name="connsiteX17" fmla="*/ 101498 w 195370"/>
                  <a:gd name="connsiteY17" fmla="*/ 26560 h 116467"/>
                  <a:gd name="connsiteX18" fmla="*/ 101498 w 195370"/>
                  <a:gd name="connsiteY18" fmla="*/ 26560 h 116467"/>
                  <a:gd name="connsiteX19" fmla="*/ 50128 w 195370"/>
                  <a:gd name="connsiteY19" fmla="*/ 7935 h 116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95370" h="116467">
                    <a:moveTo>
                      <a:pt x="144005" y="116381"/>
                    </a:moveTo>
                    <a:cubicBezTo>
                      <a:pt x="118170" y="116666"/>
                      <a:pt x="92486" y="114203"/>
                      <a:pt x="67252" y="109021"/>
                    </a:cubicBezTo>
                    <a:cubicBezTo>
                      <a:pt x="41267" y="105266"/>
                      <a:pt x="18286" y="90065"/>
                      <a:pt x="4617" y="67565"/>
                    </a:cubicBezTo>
                    <a:cubicBezTo>
                      <a:pt x="-2142" y="55053"/>
                      <a:pt x="-2893" y="40183"/>
                      <a:pt x="2365" y="27011"/>
                    </a:cubicBezTo>
                    <a:cubicBezTo>
                      <a:pt x="8372" y="14349"/>
                      <a:pt x="19787" y="5036"/>
                      <a:pt x="33306" y="1626"/>
                    </a:cubicBezTo>
                    <a:cubicBezTo>
                      <a:pt x="59291" y="-3465"/>
                      <a:pt x="86027" y="3068"/>
                      <a:pt x="106755" y="19500"/>
                    </a:cubicBezTo>
                    <a:lnTo>
                      <a:pt x="106755" y="19500"/>
                    </a:lnTo>
                    <a:cubicBezTo>
                      <a:pt x="139648" y="44524"/>
                      <a:pt x="168939" y="74054"/>
                      <a:pt x="193722" y="107218"/>
                    </a:cubicBezTo>
                    <a:cubicBezTo>
                      <a:pt x="194472" y="108571"/>
                      <a:pt x="194472" y="110223"/>
                      <a:pt x="193722" y="111574"/>
                    </a:cubicBezTo>
                    <a:cubicBezTo>
                      <a:pt x="192971" y="112971"/>
                      <a:pt x="191619" y="113933"/>
                      <a:pt x="190118" y="114128"/>
                    </a:cubicBezTo>
                    <a:cubicBezTo>
                      <a:pt x="174797" y="115660"/>
                      <a:pt x="159476" y="116411"/>
                      <a:pt x="144005" y="116381"/>
                    </a:cubicBezTo>
                    <a:close/>
                    <a:moveTo>
                      <a:pt x="50128" y="7935"/>
                    </a:moveTo>
                    <a:cubicBezTo>
                      <a:pt x="45022" y="7845"/>
                      <a:pt x="40064" y="8506"/>
                      <a:pt x="35108" y="9888"/>
                    </a:cubicBezTo>
                    <a:cubicBezTo>
                      <a:pt x="24144" y="12711"/>
                      <a:pt x="14831" y="20237"/>
                      <a:pt x="9875" y="30465"/>
                    </a:cubicBezTo>
                    <a:cubicBezTo>
                      <a:pt x="5519" y="41280"/>
                      <a:pt x="6269" y="53431"/>
                      <a:pt x="11828" y="63660"/>
                    </a:cubicBezTo>
                    <a:cubicBezTo>
                      <a:pt x="24445" y="83802"/>
                      <a:pt x="45172" y="97350"/>
                      <a:pt x="68753" y="100610"/>
                    </a:cubicBezTo>
                    <a:cubicBezTo>
                      <a:pt x="105853" y="107594"/>
                      <a:pt x="143854" y="109472"/>
                      <a:pt x="181555" y="106167"/>
                    </a:cubicBezTo>
                    <a:cubicBezTo>
                      <a:pt x="158574" y="76127"/>
                      <a:pt x="131689" y="49346"/>
                      <a:pt x="101498" y="26560"/>
                    </a:cubicBezTo>
                    <a:lnTo>
                      <a:pt x="101498" y="26560"/>
                    </a:lnTo>
                    <a:cubicBezTo>
                      <a:pt x="86628" y="15415"/>
                      <a:pt x="68753" y="8941"/>
                      <a:pt x="50128" y="7935"/>
                    </a:cubicBezTo>
                    <a:close/>
                  </a:path>
                </a:pathLst>
              </a:custGeom>
              <a:solidFill>
                <a:srgbClr val="FD521B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9" name="iṡļiḍè"/>
              <p:cNvSpPr/>
              <p:nvPr/>
            </p:nvSpPr>
            <p:spPr>
              <a:xfrm>
                <a:off x="5116353" y="5519373"/>
                <a:ext cx="217081" cy="215781"/>
              </a:xfrm>
              <a:custGeom>
                <a:avLst/>
                <a:gdLst>
                  <a:gd name="connsiteX0" fmla="*/ 211627 w 217081"/>
                  <a:gd name="connsiteY0" fmla="*/ 215604 h 215781"/>
                  <a:gd name="connsiteX1" fmla="*/ 209524 w 217081"/>
                  <a:gd name="connsiteY1" fmla="*/ 215604 h 215781"/>
                  <a:gd name="connsiteX2" fmla="*/ 73292 w 217081"/>
                  <a:gd name="connsiteY2" fmla="*/ 119926 h 215781"/>
                  <a:gd name="connsiteX3" fmla="*/ -909 w 217081"/>
                  <a:gd name="connsiteY3" fmla="*/ 19741 h 215781"/>
                  <a:gd name="connsiteX4" fmla="*/ 3748 w 217081"/>
                  <a:gd name="connsiteY4" fmla="*/ 4721 h 215781"/>
                  <a:gd name="connsiteX5" fmla="*/ 18017 w 217081"/>
                  <a:gd name="connsiteY5" fmla="*/ 65 h 215781"/>
                  <a:gd name="connsiteX6" fmla="*/ 118803 w 217081"/>
                  <a:gd name="connsiteY6" fmla="*/ 73513 h 215781"/>
                  <a:gd name="connsiteX7" fmla="*/ 118803 w 217081"/>
                  <a:gd name="connsiteY7" fmla="*/ 73513 h 215781"/>
                  <a:gd name="connsiteX8" fmla="*/ 215382 w 217081"/>
                  <a:gd name="connsiteY8" fmla="*/ 208695 h 215781"/>
                  <a:gd name="connsiteX9" fmla="*/ 213881 w 217081"/>
                  <a:gd name="connsiteY9" fmla="*/ 214673 h 215781"/>
                  <a:gd name="connsiteX10" fmla="*/ 211627 w 217081"/>
                  <a:gd name="connsiteY10" fmla="*/ 215304 h 215781"/>
                  <a:gd name="connsiteX11" fmla="*/ 16365 w 217081"/>
                  <a:gd name="connsiteY11" fmla="*/ 8626 h 215781"/>
                  <a:gd name="connsiteX12" fmla="*/ 9306 w 217081"/>
                  <a:gd name="connsiteY12" fmla="*/ 10729 h 215781"/>
                  <a:gd name="connsiteX13" fmla="*/ 7203 w 217081"/>
                  <a:gd name="connsiteY13" fmla="*/ 18840 h 215781"/>
                  <a:gd name="connsiteX14" fmla="*/ 78248 w 217081"/>
                  <a:gd name="connsiteY14" fmla="*/ 112566 h 215781"/>
                  <a:gd name="connsiteX15" fmla="*/ 197660 w 217081"/>
                  <a:gd name="connsiteY15" fmla="*/ 197880 h 215781"/>
                  <a:gd name="connsiteX16" fmla="*/ 111743 w 217081"/>
                  <a:gd name="connsiteY16" fmla="*/ 79071 h 215781"/>
                  <a:gd name="connsiteX17" fmla="*/ 17116 w 217081"/>
                  <a:gd name="connsiteY17" fmla="*/ 8626 h 215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7081" h="215781">
                    <a:moveTo>
                      <a:pt x="211627" y="215604"/>
                    </a:moveTo>
                    <a:cubicBezTo>
                      <a:pt x="210877" y="215754"/>
                      <a:pt x="210276" y="215754"/>
                      <a:pt x="209524" y="215604"/>
                    </a:cubicBezTo>
                    <a:cubicBezTo>
                      <a:pt x="161911" y="186931"/>
                      <a:pt x="116400" y="154968"/>
                      <a:pt x="73292" y="119926"/>
                    </a:cubicBezTo>
                    <a:cubicBezTo>
                      <a:pt x="38444" y="90786"/>
                      <a:pt x="595" y="49181"/>
                      <a:pt x="-909" y="19741"/>
                    </a:cubicBezTo>
                    <a:cubicBezTo>
                      <a:pt x="-1659" y="14289"/>
                      <a:pt x="-7" y="8791"/>
                      <a:pt x="3748" y="4721"/>
                    </a:cubicBezTo>
                    <a:cubicBezTo>
                      <a:pt x="7654" y="1131"/>
                      <a:pt x="12760" y="-567"/>
                      <a:pt x="18017" y="65"/>
                    </a:cubicBezTo>
                    <a:cubicBezTo>
                      <a:pt x="27329" y="65"/>
                      <a:pt x="61726" y="6674"/>
                      <a:pt x="118803" y="73513"/>
                    </a:cubicBezTo>
                    <a:lnTo>
                      <a:pt x="118803" y="73513"/>
                    </a:lnTo>
                    <a:cubicBezTo>
                      <a:pt x="154101" y="116291"/>
                      <a:pt x="186394" y="161457"/>
                      <a:pt x="215382" y="208695"/>
                    </a:cubicBezTo>
                    <a:cubicBezTo>
                      <a:pt x="216585" y="210753"/>
                      <a:pt x="215984" y="213426"/>
                      <a:pt x="213881" y="214673"/>
                    </a:cubicBezTo>
                    <a:cubicBezTo>
                      <a:pt x="213279" y="215094"/>
                      <a:pt x="212379" y="215304"/>
                      <a:pt x="211627" y="215304"/>
                    </a:cubicBezTo>
                    <a:close/>
                    <a:moveTo>
                      <a:pt x="16365" y="8626"/>
                    </a:moveTo>
                    <a:cubicBezTo>
                      <a:pt x="13812" y="8401"/>
                      <a:pt x="11258" y="9152"/>
                      <a:pt x="9306" y="10729"/>
                    </a:cubicBezTo>
                    <a:cubicBezTo>
                      <a:pt x="7503" y="13042"/>
                      <a:pt x="6752" y="15971"/>
                      <a:pt x="7203" y="18840"/>
                    </a:cubicBezTo>
                    <a:cubicBezTo>
                      <a:pt x="8404" y="45275"/>
                      <a:pt x="46255" y="85980"/>
                      <a:pt x="78248" y="112566"/>
                    </a:cubicBezTo>
                    <a:cubicBezTo>
                      <a:pt x="116099" y="143583"/>
                      <a:pt x="156053" y="172076"/>
                      <a:pt x="197660" y="197880"/>
                    </a:cubicBezTo>
                    <a:cubicBezTo>
                      <a:pt x="171525" y="156485"/>
                      <a:pt x="142835" y="116802"/>
                      <a:pt x="111743" y="79071"/>
                    </a:cubicBezTo>
                    <a:cubicBezTo>
                      <a:pt x="55417" y="13282"/>
                      <a:pt x="23125" y="8926"/>
                      <a:pt x="17116" y="8626"/>
                    </a:cubicBezTo>
                    <a:close/>
                  </a:path>
                </a:pathLst>
              </a:custGeom>
              <a:solidFill>
                <a:srgbClr val="FD521B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0" name="ïśľîḍè"/>
              <p:cNvSpPr/>
              <p:nvPr/>
            </p:nvSpPr>
            <p:spPr>
              <a:xfrm>
                <a:off x="6339005" y="5623874"/>
                <a:ext cx="150290" cy="198330"/>
              </a:xfrm>
              <a:custGeom>
                <a:avLst/>
                <a:gdLst>
                  <a:gd name="connsiteX0" fmla="*/ 3290 w 150290"/>
                  <a:gd name="connsiteY0" fmla="*/ 198071 h 198330"/>
                  <a:gd name="connsiteX1" fmla="*/ 886 w 150290"/>
                  <a:gd name="connsiteY1" fmla="*/ 198071 h 198330"/>
                  <a:gd name="connsiteX2" fmla="*/ -1067 w 150290"/>
                  <a:gd name="connsiteY2" fmla="*/ 194166 h 198330"/>
                  <a:gd name="connsiteX3" fmla="*/ 36033 w 150290"/>
                  <a:gd name="connsiteY3" fmla="*/ 76857 h 198330"/>
                  <a:gd name="connsiteX4" fmla="*/ 36033 w 150290"/>
                  <a:gd name="connsiteY4" fmla="*/ 76857 h 198330"/>
                  <a:gd name="connsiteX5" fmla="*/ 120448 w 150290"/>
                  <a:gd name="connsiteY5" fmla="*/ 855 h 198330"/>
                  <a:gd name="connsiteX6" fmla="*/ 139522 w 150290"/>
                  <a:gd name="connsiteY6" fmla="*/ 3409 h 198330"/>
                  <a:gd name="connsiteX7" fmla="*/ 149135 w 150290"/>
                  <a:gd name="connsiteY7" fmla="*/ 25338 h 198330"/>
                  <a:gd name="connsiteX8" fmla="*/ 139823 w 150290"/>
                  <a:gd name="connsiteY8" fmla="*/ 72502 h 198330"/>
                  <a:gd name="connsiteX9" fmla="*/ 103475 w 150290"/>
                  <a:gd name="connsiteY9" fmla="*/ 125523 h 198330"/>
                  <a:gd name="connsiteX10" fmla="*/ 5242 w 150290"/>
                  <a:gd name="connsiteY10" fmla="*/ 198221 h 198330"/>
                  <a:gd name="connsiteX11" fmla="*/ 3290 w 150290"/>
                  <a:gd name="connsiteY11" fmla="*/ 198071 h 198330"/>
                  <a:gd name="connsiteX12" fmla="*/ 127507 w 150290"/>
                  <a:gd name="connsiteY12" fmla="*/ 8065 h 198330"/>
                  <a:gd name="connsiteX13" fmla="*/ 122100 w 150290"/>
                  <a:gd name="connsiteY13" fmla="*/ 8065 h 198330"/>
                  <a:gd name="connsiteX14" fmla="*/ 43394 w 150290"/>
                  <a:gd name="connsiteY14" fmla="*/ 80012 h 198330"/>
                  <a:gd name="connsiteX15" fmla="*/ 8396 w 150290"/>
                  <a:gd name="connsiteY15" fmla="*/ 185153 h 198330"/>
                  <a:gd name="connsiteX16" fmla="*/ 97467 w 150290"/>
                  <a:gd name="connsiteY16" fmla="*/ 118013 h 198330"/>
                  <a:gd name="connsiteX17" fmla="*/ 140575 w 150290"/>
                  <a:gd name="connsiteY17" fmla="*/ 24737 h 198330"/>
                  <a:gd name="connsiteX18" fmla="*/ 134416 w 150290"/>
                  <a:gd name="connsiteY18" fmla="*/ 9717 h 198330"/>
                  <a:gd name="connsiteX19" fmla="*/ 127507 w 150290"/>
                  <a:gd name="connsiteY19" fmla="*/ 8065 h 198330"/>
                  <a:gd name="connsiteX20" fmla="*/ 39639 w 150290"/>
                  <a:gd name="connsiteY20" fmla="*/ 78360 h 198330"/>
                  <a:gd name="connsiteX21" fmla="*/ 39639 w 150290"/>
                  <a:gd name="connsiteY21" fmla="*/ 78360 h 198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50290" h="198330">
                    <a:moveTo>
                      <a:pt x="3290" y="198071"/>
                    </a:moveTo>
                    <a:cubicBezTo>
                      <a:pt x="2538" y="198296"/>
                      <a:pt x="1638" y="198296"/>
                      <a:pt x="886" y="198071"/>
                    </a:cubicBezTo>
                    <a:cubicBezTo>
                      <a:pt x="-465" y="197229"/>
                      <a:pt x="-1217" y="195727"/>
                      <a:pt x="-1067" y="194166"/>
                    </a:cubicBezTo>
                    <a:cubicBezTo>
                      <a:pt x="2989" y="152905"/>
                      <a:pt x="15606" y="112936"/>
                      <a:pt x="36033" y="76857"/>
                    </a:cubicBezTo>
                    <a:lnTo>
                      <a:pt x="36033" y="76857"/>
                    </a:lnTo>
                    <a:cubicBezTo>
                      <a:pt x="63371" y="31046"/>
                      <a:pt x="98818" y="5362"/>
                      <a:pt x="120448" y="855"/>
                    </a:cubicBezTo>
                    <a:cubicBezTo>
                      <a:pt x="126906" y="-977"/>
                      <a:pt x="133814" y="-46"/>
                      <a:pt x="139522" y="3409"/>
                    </a:cubicBezTo>
                    <a:cubicBezTo>
                      <a:pt x="145831" y="8951"/>
                      <a:pt x="149286" y="16972"/>
                      <a:pt x="149135" y="25338"/>
                    </a:cubicBezTo>
                    <a:cubicBezTo>
                      <a:pt x="149737" y="41560"/>
                      <a:pt x="146433" y="57707"/>
                      <a:pt x="139823" y="72502"/>
                    </a:cubicBezTo>
                    <a:cubicBezTo>
                      <a:pt x="131262" y="92403"/>
                      <a:pt x="118945" y="110428"/>
                      <a:pt x="103475" y="125523"/>
                    </a:cubicBezTo>
                    <a:cubicBezTo>
                      <a:pt x="73884" y="153791"/>
                      <a:pt x="40991" y="178214"/>
                      <a:pt x="5242" y="198221"/>
                    </a:cubicBezTo>
                    <a:cubicBezTo>
                      <a:pt x="4641" y="198311"/>
                      <a:pt x="3891" y="198266"/>
                      <a:pt x="3290" y="198071"/>
                    </a:cubicBezTo>
                    <a:close/>
                    <a:moveTo>
                      <a:pt x="127507" y="8065"/>
                    </a:moveTo>
                    <a:cubicBezTo>
                      <a:pt x="125705" y="7915"/>
                      <a:pt x="123902" y="7915"/>
                      <a:pt x="122100" y="8065"/>
                    </a:cubicBezTo>
                    <a:cubicBezTo>
                      <a:pt x="101821" y="12271"/>
                      <a:pt x="68176" y="38106"/>
                      <a:pt x="43394" y="80012"/>
                    </a:cubicBezTo>
                    <a:cubicBezTo>
                      <a:pt x="25219" y="112516"/>
                      <a:pt x="13204" y="148203"/>
                      <a:pt x="8396" y="185153"/>
                    </a:cubicBezTo>
                    <a:cubicBezTo>
                      <a:pt x="40540" y="166303"/>
                      <a:pt x="70430" y="143773"/>
                      <a:pt x="97467" y="118013"/>
                    </a:cubicBezTo>
                    <a:cubicBezTo>
                      <a:pt x="123902" y="94056"/>
                      <a:pt x="139372" y="60381"/>
                      <a:pt x="140575" y="24737"/>
                    </a:cubicBezTo>
                    <a:cubicBezTo>
                      <a:pt x="140575" y="19105"/>
                      <a:pt x="138472" y="13683"/>
                      <a:pt x="134416" y="9717"/>
                    </a:cubicBezTo>
                    <a:cubicBezTo>
                      <a:pt x="132313" y="8471"/>
                      <a:pt x="129909" y="7900"/>
                      <a:pt x="127507" y="8065"/>
                    </a:cubicBezTo>
                    <a:close/>
                    <a:moveTo>
                      <a:pt x="39639" y="78360"/>
                    </a:moveTo>
                    <a:lnTo>
                      <a:pt x="39639" y="78360"/>
                    </a:lnTo>
                    <a:close/>
                  </a:path>
                </a:pathLst>
              </a:custGeom>
              <a:solidFill>
                <a:srgbClr val="FD521B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1" name="îsļîde"/>
              <p:cNvSpPr/>
              <p:nvPr/>
            </p:nvSpPr>
            <p:spPr>
              <a:xfrm>
                <a:off x="6332867" y="5737424"/>
                <a:ext cx="162284" cy="84799"/>
              </a:xfrm>
              <a:custGeom>
                <a:avLst/>
                <a:gdLst>
                  <a:gd name="connsiteX0" fmla="*/ 19492 w 162284"/>
                  <a:gd name="connsiteY0" fmla="*/ 84520 h 84799"/>
                  <a:gd name="connsiteX1" fmla="*/ 2969 w 162284"/>
                  <a:gd name="connsiteY1" fmla="*/ 84520 h 84799"/>
                  <a:gd name="connsiteX2" fmla="*/ -636 w 162284"/>
                  <a:gd name="connsiteY2" fmla="*/ 82117 h 84799"/>
                  <a:gd name="connsiteX3" fmla="*/ -636 w 162284"/>
                  <a:gd name="connsiteY3" fmla="*/ 77761 h 84799"/>
                  <a:gd name="connsiteX4" fmla="*/ 66506 w 162284"/>
                  <a:gd name="connsiteY4" fmla="*/ 17681 h 84799"/>
                  <a:gd name="connsiteX5" fmla="*/ 147914 w 162284"/>
                  <a:gd name="connsiteY5" fmla="*/ 2660 h 84799"/>
                  <a:gd name="connsiteX6" fmla="*/ 160081 w 162284"/>
                  <a:gd name="connsiteY6" fmla="*/ 12724 h 84799"/>
                  <a:gd name="connsiteX7" fmla="*/ 157677 w 162284"/>
                  <a:gd name="connsiteY7" fmla="*/ 32250 h 84799"/>
                  <a:gd name="connsiteX8" fmla="*/ 91588 w 162284"/>
                  <a:gd name="connsiteY8" fmla="*/ 77311 h 84799"/>
                  <a:gd name="connsiteX9" fmla="*/ 19492 w 162284"/>
                  <a:gd name="connsiteY9" fmla="*/ 84520 h 84799"/>
                  <a:gd name="connsiteX10" fmla="*/ 11682 w 162284"/>
                  <a:gd name="connsiteY10" fmla="*/ 75658 h 84799"/>
                  <a:gd name="connsiteX11" fmla="*/ 89936 w 162284"/>
                  <a:gd name="connsiteY11" fmla="*/ 68299 h 84799"/>
                  <a:gd name="connsiteX12" fmla="*/ 150017 w 162284"/>
                  <a:gd name="connsiteY12" fmla="*/ 27744 h 84799"/>
                  <a:gd name="connsiteX13" fmla="*/ 152270 w 162284"/>
                  <a:gd name="connsiteY13" fmla="*/ 15728 h 84799"/>
                  <a:gd name="connsiteX14" fmla="*/ 145061 w 162284"/>
                  <a:gd name="connsiteY14" fmla="*/ 10320 h 84799"/>
                  <a:gd name="connsiteX15" fmla="*/ 69960 w 162284"/>
                  <a:gd name="connsiteY15" fmla="*/ 25341 h 84799"/>
                  <a:gd name="connsiteX16" fmla="*/ 69960 w 162284"/>
                  <a:gd name="connsiteY16" fmla="*/ 25341 h 84799"/>
                  <a:gd name="connsiteX17" fmla="*/ 11682 w 162284"/>
                  <a:gd name="connsiteY17" fmla="*/ 75658 h 84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62284" h="84799">
                    <a:moveTo>
                      <a:pt x="19492" y="84520"/>
                    </a:moveTo>
                    <a:cubicBezTo>
                      <a:pt x="13935" y="84806"/>
                      <a:pt x="8526" y="84806"/>
                      <a:pt x="2969" y="84520"/>
                    </a:cubicBezTo>
                    <a:cubicBezTo>
                      <a:pt x="1467" y="84475"/>
                      <a:pt x="-35" y="83544"/>
                      <a:pt x="-636" y="82117"/>
                    </a:cubicBezTo>
                    <a:cubicBezTo>
                      <a:pt x="-1236" y="80735"/>
                      <a:pt x="-1236" y="79128"/>
                      <a:pt x="-636" y="77761"/>
                    </a:cubicBezTo>
                    <a:cubicBezTo>
                      <a:pt x="17239" y="53218"/>
                      <a:pt x="40070" y="32746"/>
                      <a:pt x="66506" y="17681"/>
                    </a:cubicBezTo>
                    <a:cubicBezTo>
                      <a:pt x="90237" y="5063"/>
                      <a:pt x="125684" y="-5150"/>
                      <a:pt x="147914" y="2660"/>
                    </a:cubicBezTo>
                    <a:cubicBezTo>
                      <a:pt x="153171" y="4147"/>
                      <a:pt x="157677" y="7812"/>
                      <a:pt x="160081" y="12724"/>
                    </a:cubicBezTo>
                    <a:cubicBezTo>
                      <a:pt x="162184" y="19273"/>
                      <a:pt x="161282" y="26407"/>
                      <a:pt x="157677" y="32250"/>
                    </a:cubicBezTo>
                    <a:cubicBezTo>
                      <a:pt x="142808" y="55742"/>
                      <a:pt x="118926" y="72054"/>
                      <a:pt x="91588" y="77311"/>
                    </a:cubicBezTo>
                    <a:cubicBezTo>
                      <a:pt x="67857" y="82237"/>
                      <a:pt x="43675" y="84656"/>
                      <a:pt x="19492" y="84520"/>
                    </a:cubicBezTo>
                    <a:close/>
                    <a:moveTo>
                      <a:pt x="11682" y="75658"/>
                    </a:moveTo>
                    <a:cubicBezTo>
                      <a:pt x="37967" y="76275"/>
                      <a:pt x="64252" y="73811"/>
                      <a:pt x="89936" y="68299"/>
                    </a:cubicBezTo>
                    <a:cubicBezTo>
                      <a:pt x="114720" y="63627"/>
                      <a:pt x="136498" y="48953"/>
                      <a:pt x="150017" y="27744"/>
                    </a:cubicBezTo>
                    <a:cubicBezTo>
                      <a:pt x="152421" y="24244"/>
                      <a:pt x="153321" y="19874"/>
                      <a:pt x="152270" y="15728"/>
                    </a:cubicBezTo>
                    <a:cubicBezTo>
                      <a:pt x="150618" y="13099"/>
                      <a:pt x="148064" y="11177"/>
                      <a:pt x="145061" y="10320"/>
                    </a:cubicBezTo>
                    <a:cubicBezTo>
                      <a:pt x="119076" y="6010"/>
                      <a:pt x="92340" y="11357"/>
                      <a:pt x="69960" y="25341"/>
                    </a:cubicBezTo>
                    <a:lnTo>
                      <a:pt x="69960" y="25341"/>
                    </a:lnTo>
                    <a:cubicBezTo>
                      <a:pt x="47580" y="38258"/>
                      <a:pt x="27752" y="55336"/>
                      <a:pt x="11682" y="75658"/>
                    </a:cubicBezTo>
                    <a:close/>
                  </a:path>
                </a:pathLst>
              </a:custGeom>
              <a:solidFill>
                <a:srgbClr val="FD521B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2" name="ï$1idé"/>
              <p:cNvSpPr/>
              <p:nvPr/>
            </p:nvSpPr>
            <p:spPr>
              <a:xfrm>
                <a:off x="6818056" y="3934950"/>
                <a:ext cx="247577" cy="250626"/>
              </a:xfrm>
              <a:custGeom>
                <a:avLst/>
                <a:gdLst>
                  <a:gd name="connsiteX0" fmla="*/ 4735 w 247577"/>
                  <a:gd name="connsiteY0" fmla="*/ 31850 h 250626"/>
                  <a:gd name="connsiteX1" fmla="*/ 196844 w 247577"/>
                  <a:gd name="connsiteY1" fmla="*/ 244836 h 250626"/>
                  <a:gd name="connsiteX2" fmla="*/ 236646 w 247577"/>
                  <a:gd name="connsiteY2" fmla="*/ 243485 h 250626"/>
                  <a:gd name="connsiteX3" fmla="*/ 236646 w 247577"/>
                  <a:gd name="connsiteY3" fmla="*/ 243485 h 250626"/>
                  <a:gd name="connsiteX4" fmla="*/ 241453 w 247577"/>
                  <a:gd name="connsiteY4" fmla="*/ 208487 h 250626"/>
                  <a:gd name="connsiteX5" fmla="*/ 110327 w 247577"/>
                  <a:gd name="connsiteY5" fmla="*/ 18181 h 250626"/>
                  <a:gd name="connsiteX6" fmla="*/ 35226 w 247577"/>
                  <a:gd name="connsiteY6" fmla="*/ 3161 h 250626"/>
                  <a:gd name="connsiteX7" fmla="*/ 4735 w 247577"/>
                  <a:gd name="connsiteY7" fmla="*/ 31850 h 250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7577" h="250626">
                    <a:moveTo>
                      <a:pt x="4735" y="31850"/>
                    </a:moveTo>
                    <a:cubicBezTo>
                      <a:pt x="49795" y="86523"/>
                      <a:pt x="140819" y="207286"/>
                      <a:pt x="196844" y="244836"/>
                    </a:cubicBezTo>
                    <a:cubicBezTo>
                      <a:pt x="209009" y="252947"/>
                      <a:pt x="225082" y="252391"/>
                      <a:pt x="236646" y="243485"/>
                    </a:cubicBezTo>
                    <a:lnTo>
                      <a:pt x="236646" y="243485"/>
                    </a:lnTo>
                    <a:cubicBezTo>
                      <a:pt x="247612" y="235118"/>
                      <a:pt x="249715" y="219497"/>
                      <a:pt x="241453" y="208487"/>
                    </a:cubicBezTo>
                    <a:cubicBezTo>
                      <a:pt x="207207" y="162525"/>
                      <a:pt x="124445" y="50024"/>
                      <a:pt x="110327" y="18181"/>
                    </a:cubicBezTo>
                    <a:cubicBezTo>
                      <a:pt x="101015" y="-2997"/>
                      <a:pt x="66167" y="-2246"/>
                      <a:pt x="35226" y="3161"/>
                    </a:cubicBezTo>
                    <a:cubicBezTo>
                      <a:pt x="9540" y="7968"/>
                      <a:pt x="-11787" y="11723"/>
                      <a:pt x="4735" y="31850"/>
                    </a:cubicBezTo>
                    <a:close/>
                  </a:path>
                </a:pathLst>
              </a:custGeom>
              <a:solidFill>
                <a:srgbClr val="A9543D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3" name="i$ḷiḓé"/>
              <p:cNvSpPr/>
              <p:nvPr/>
            </p:nvSpPr>
            <p:spPr>
              <a:xfrm>
                <a:off x="6862179" y="3922388"/>
                <a:ext cx="300681" cy="222798"/>
              </a:xfrm>
              <a:custGeom>
                <a:avLst/>
                <a:gdLst>
                  <a:gd name="connsiteX0" fmla="*/ -1086 w 300681"/>
                  <a:gd name="connsiteY0" fmla="*/ 39605 h 222798"/>
                  <a:gd name="connsiteX1" fmla="*/ 251854 w 300681"/>
                  <a:gd name="connsiteY1" fmla="*/ 219848 h 222798"/>
                  <a:gd name="connsiteX2" fmla="*/ 293761 w 300681"/>
                  <a:gd name="connsiteY2" fmla="*/ 210235 h 222798"/>
                  <a:gd name="connsiteX3" fmla="*/ 293761 w 300681"/>
                  <a:gd name="connsiteY3" fmla="*/ 210235 h 222798"/>
                  <a:gd name="connsiteX4" fmla="*/ 291959 w 300681"/>
                  <a:gd name="connsiteY4" fmla="*/ 177491 h 222798"/>
                  <a:gd name="connsiteX5" fmla="*/ 111716 w 300681"/>
                  <a:gd name="connsiteY5" fmla="*/ 10917 h 222798"/>
                  <a:gd name="connsiteX6" fmla="*/ -1086 w 300681"/>
                  <a:gd name="connsiteY6" fmla="*/ 39605 h 222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0681" h="222798">
                    <a:moveTo>
                      <a:pt x="-1086" y="39605"/>
                    </a:moveTo>
                    <a:cubicBezTo>
                      <a:pt x="-1086" y="39605"/>
                      <a:pt x="161131" y="181246"/>
                      <a:pt x="251854" y="219848"/>
                    </a:cubicBezTo>
                    <a:cubicBezTo>
                      <a:pt x="266423" y="225991"/>
                      <a:pt x="283246" y="222116"/>
                      <a:pt x="293761" y="210235"/>
                    </a:cubicBezTo>
                    <a:lnTo>
                      <a:pt x="293761" y="210235"/>
                    </a:lnTo>
                    <a:cubicBezTo>
                      <a:pt x="302171" y="200652"/>
                      <a:pt x="301420" y="186097"/>
                      <a:pt x="291959" y="177491"/>
                    </a:cubicBezTo>
                    <a:cubicBezTo>
                      <a:pt x="250202" y="139790"/>
                      <a:pt x="131392" y="39755"/>
                      <a:pt x="111716" y="10917"/>
                    </a:cubicBezTo>
                    <a:cubicBezTo>
                      <a:pt x="85880" y="-25282"/>
                      <a:pt x="-1086" y="39605"/>
                      <a:pt x="-1086" y="39605"/>
                    </a:cubicBezTo>
                    <a:close/>
                  </a:path>
                </a:pathLst>
              </a:custGeom>
              <a:solidFill>
                <a:srgbClr val="A9543D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4" name="íšlíḋé"/>
              <p:cNvSpPr/>
              <p:nvPr/>
            </p:nvSpPr>
            <p:spPr>
              <a:xfrm>
                <a:off x="6878851" y="3878975"/>
                <a:ext cx="294376" cy="188554"/>
              </a:xfrm>
              <a:custGeom>
                <a:avLst/>
                <a:gdLst>
                  <a:gd name="connsiteX0" fmla="*/ -1086 w 294376"/>
                  <a:gd name="connsiteY0" fmla="*/ 38408 h 188554"/>
                  <a:gd name="connsiteX1" fmla="*/ 254258 w 294376"/>
                  <a:gd name="connsiteY1" fmla="*/ 187108 h 188554"/>
                  <a:gd name="connsiteX2" fmla="*/ 288053 w 294376"/>
                  <a:gd name="connsiteY2" fmla="*/ 176744 h 188554"/>
                  <a:gd name="connsiteX3" fmla="*/ 288053 w 294376"/>
                  <a:gd name="connsiteY3" fmla="*/ 176744 h 188554"/>
                  <a:gd name="connsiteX4" fmla="*/ 284898 w 294376"/>
                  <a:gd name="connsiteY4" fmla="*/ 144405 h 188554"/>
                  <a:gd name="connsiteX5" fmla="*/ 284148 w 294376"/>
                  <a:gd name="connsiteY5" fmla="*/ 143849 h 188554"/>
                  <a:gd name="connsiteX6" fmla="*/ 117123 w 294376"/>
                  <a:gd name="connsiteY6" fmla="*/ 8667 h 188554"/>
                  <a:gd name="connsiteX7" fmla="*/ -1086 w 294376"/>
                  <a:gd name="connsiteY7" fmla="*/ 38408 h 188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4376" h="188554">
                    <a:moveTo>
                      <a:pt x="-1086" y="38408"/>
                    </a:moveTo>
                    <a:cubicBezTo>
                      <a:pt x="-1086" y="38408"/>
                      <a:pt x="167140" y="159771"/>
                      <a:pt x="254258" y="187108"/>
                    </a:cubicBezTo>
                    <a:cubicBezTo>
                      <a:pt x="266573" y="190878"/>
                      <a:pt x="279942" y="186777"/>
                      <a:pt x="288053" y="176744"/>
                    </a:cubicBezTo>
                    <a:lnTo>
                      <a:pt x="288053" y="176744"/>
                    </a:lnTo>
                    <a:cubicBezTo>
                      <a:pt x="296163" y="166920"/>
                      <a:pt x="294661" y="152441"/>
                      <a:pt x="284898" y="144405"/>
                    </a:cubicBezTo>
                    <a:cubicBezTo>
                      <a:pt x="284599" y="144210"/>
                      <a:pt x="284448" y="144029"/>
                      <a:pt x="284148" y="143849"/>
                    </a:cubicBezTo>
                    <a:cubicBezTo>
                      <a:pt x="240739" y="111406"/>
                      <a:pt x="137851" y="33301"/>
                      <a:pt x="117123" y="8667"/>
                    </a:cubicBezTo>
                    <a:cubicBezTo>
                      <a:pt x="91437" y="-22124"/>
                      <a:pt x="-1086" y="38408"/>
                      <a:pt x="-1086" y="38408"/>
                    </a:cubicBezTo>
                    <a:close/>
                  </a:path>
                </a:pathLst>
              </a:custGeom>
              <a:solidFill>
                <a:srgbClr val="A9543D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5" name="íṥļîḋé"/>
              <p:cNvSpPr/>
              <p:nvPr/>
            </p:nvSpPr>
            <p:spPr>
              <a:xfrm>
                <a:off x="6669794" y="3717529"/>
                <a:ext cx="492610" cy="376171"/>
              </a:xfrm>
              <a:custGeom>
                <a:avLst/>
                <a:gdLst>
                  <a:gd name="connsiteX0" fmla="*/ 483893 w 492610"/>
                  <a:gd name="connsiteY0" fmla="*/ 246417 h 376171"/>
                  <a:gd name="connsiteX1" fmla="*/ 325128 w 492610"/>
                  <a:gd name="connsiteY1" fmla="*/ 138572 h 376171"/>
                  <a:gd name="connsiteX2" fmla="*/ 184088 w 492610"/>
                  <a:gd name="connsiteY2" fmla="*/ -65 h 376171"/>
                  <a:gd name="connsiteX3" fmla="*/ -208 w 492610"/>
                  <a:gd name="connsiteY3" fmla="*/ 21715 h 376171"/>
                  <a:gd name="connsiteX4" fmla="*/ 13159 w 492610"/>
                  <a:gd name="connsiteY4" fmla="*/ 58064 h 376171"/>
                  <a:gd name="connsiteX5" fmla="*/ 50410 w 492610"/>
                  <a:gd name="connsiteY5" fmla="*/ 218780 h 376171"/>
                  <a:gd name="connsiteX6" fmla="*/ 103580 w 492610"/>
                  <a:gd name="connsiteY6" fmla="*/ 348404 h 376171"/>
                  <a:gd name="connsiteX7" fmla="*/ 166817 w 492610"/>
                  <a:gd name="connsiteY7" fmla="*/ 350507 h 376171"/>
                  <a:gd name="connsiteX8" fmla="*/ 152997 w 492610"/>
                  <a:gd name="connsiteY8" fmla="*/ 249271 h 376171"/>
                  <a:gd name="connsiteX9" fmla="*/ 177781 w 492610"/>
                  <a:gd name="connsiteY9" fmla="*/ 268647 h 376171"/>
                  <a:gd name="connsiteX10" fmla="*/ 264747 w 492610"/>
                  <a:gd name="connsiteY10" fmla="*/ 181980 h 376171"/>
                  <a:gd name="connsiteX11" fmla="*/ 451599 w 492610"/>
                  <a:gd name="connsiteY11" fmla="*/ 281864 h 376171"/>
                  <a:gd name="connsiteX12" fmla="*/ 488099 w 492610"/>
                  <a:gd name="connsiteY12" fmla="*/ 269097 h 376171"/>
                  <a:gd name="connsiteX13" fmla="*/ 486146 w 492610"/>
                  <a:gd name="connsiteY13" fmla="*/ 247949 h 376171"/>
                  <a:gd name="connsiteX14" fmla="*/ 483893 w 492610"/>
                  <a:gd name="connsiteY14" fmla="*/ 246417 h 376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92610" h="376171">
                    <a:moveTo>
                      <a:pt x="483893" y="246417"/>
                    </a:moveTo>
                    <a:cubicBezTo>
                      <a:pt x="446042" y="222685"/>
                      <a:pt x="345556" y="158699"/>
                      <a:pt x="325128" y="138572"/>
                    </a:cubicBezTo>
                    <a:lnTo>
                      <a:pt x="184088" y="-65"/>
                    </a:lnTo>
                    <a:cubicBezTo>
                      <a:pt x="184088" y="-65"/>
                      <a:pt x="14061" y="13904"/>
                      <a:pt x="-208" y="21715"/>
                    </a:cubicBezTo>
                    <a:cubicBezTo>
                      <a:pt x="-3363" y="23517"/>
                      <a:pt x="2194" y="36735"/>
                      <a:pt x="13159" y="58064"/>
                    </a:cubicBezTo>
                    <a:cubicBezTo>
                      <a:pt x="20819" y="112632"/>
                      <a:pt x="33287" y="166404"/>
                      <a:pt x="50410" y="218780"/>
                    </a:cubicBezTo>
                    <a:cubicBezTo>
                      <a:pt x="73690" y="279762"/>
                      <a:pt x="93217" y="317763"/>
                      <a:pt x="103580" y="348404"/>
                    </a:cubicBezTo>
                    <a:cubicBezTo>
                      <a:pt x="113945" y="379045"/>
                      <a:pt x="154499" y="390310"/>
                      <a:pt x="166817" y="350507"/>
                    </a:cubicBezTo>
                    <a:cubicBezTo>
                      <a:pt x="174626" y="325123"/>
                      <a:pt x="163962" y="287272"/>
                      <a:pt x="152997" y="249271"/>
                    </a:cubicBezTo>
                    <a:cubicBezTo>
                      <a:pt x="160658" y="256540"/>
                      <a:pt x="168920" y="263029"/>
                      <a:pt x="177781" y="268647"/>
                    </a:cubicBezTo>
                    <a:cubicBezTo>
                      <a:pt x="199710" y="281864"/>
                      <a:pt x="264747" y="181980"/>
                      <a:pt x="264747" y="181980"/>
                    </a:cubicBezTo>
                    <a:cubicBezTo>
                      <a:pt x="264747" y="181980"/>
                      <a:pt x="377849" y="262338"/>
                      <a:pt x="451599" y="281864"/>
                    </a:cubicBezTo>
                    <a:cubicBezTo>
                      <a:pt x="465268" y="285544"/>
                      <a:pt x="479687" y="280468"/>
                      <a:pt x="488099" y="269097"/>
                    </a:cubicBezTo>
                    <a:cubicBezTo>
                      <a:pt x="493356" y="262714"/>
                      <a:pt x="492454" y="253236"/>
                      <a:pt x="486146" y="247949"/>
                    </a:cubicBezTo>
                    <a:cubicBezTo>
                      <a:pt x="485395" y="247378"/>
                      <a:pt x="484643" y="246852"/>
                      <a:pt x="483893" y="246417"/>
                    </a:cubicBezTo>
                    <a:close/>
                  </a:path>
                </a:pathLst>
              </a:custGeom>
              <a:solidFill>
                <a:srgbClr val="A9543D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6" name="i$ḻîḑé"/>
              <p:cNvSpPr/>
              <p:nvPr/>
            </p:nvSpPr>
            <p:spPr>
              <a:xfrm>
                <a:off x="7114456" y="3942832"/>
                <a:ext cx="47375" cy="37427"/>
              </a:xfrm>
              <a:custGeom>
                <a:avLst/>
                <a:gdLst>
                  <a:gd name="connsiteX0" fmla="*/ 39231 w 47375"/>
                  <a:gd name="connsiteY0" fmla="*/ 21114 h 37427"/>
                  <a:gd name="connsiteX1" fmla="*/ 5736 w 47375"/>
                  <a:gd name="connsiteY1" fmla="*/ -65 h 37427"/>
                  <a:gd name="connsiteX2" fmla="*/ 327 w 47375"/>
                  <a:gd name="connsiteY2" fmla="*/ 3991 h 37427"/>
                  <a:gd name="connsiteX3" fmla="*/ 15347 w 47375"/>
                  <a:gd name="connsiteY3" fmla="*/ 31027 h 37427"/>
                  <a:gd name="connsiteX4" fmla="*/ 46290 w 47375"/>
                  <a:gd name="connsiteY4" fmla="*/ 32379 h 37427"/>
                  <a:gd name="connsiteX5" fmla="*/ 46290 w 47375"/>
                  <a:gd name="connsiteY5" fmla="*/ 32379 h 37427"/>
                  <a:gd name="connsiteX6" fmla="*/ 39231 w 47375"/>
                  <a:gd name="connsiteY6" fmla="*/ 21114 h 37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375" h="37427">
                    <a:moveTo>
                      <a:pt x="39231" y="21114"/>
                    </a:moveTo>
                    <a:lnTo>
                      <a:pt x="5736" y="-65"/>
                    </a:lnTo>
                    <a:cubicBezTo>
                      <a:pt x="3482" y="566"/>
                      <a:pt x="1530" y="2008"/>
                      <a:pt x="327" y="3991"/>
                    </a:cubicBezTo>
                    <a:cubicBezTo>
                      <a:pt x="-4178" y="11050"/>
                      <a:pt x="2430" y="23217"/>
                      <a:pt x="15347" y="31027"/>
                    </a:cubicBezTo>
                    <a:cubicBezTo>
                      <a:pt x="28266" y="38838"/>
                      <a:pt x="41783" y="39589"/>
                      <a:pt x="46290" y="32379"/>
                    </a:cubicBezTo>
                    <a:cubicBezTo>
                      <a:pt x="46290" y="32379"/>
                      <a:pt x="46290" y="32379"/>
                      <a:pt x="46290" y="32379"/>
                    </a:cubicBezTo>
                    <a:cubicBezTo>
                      <a:pt x="45688" y="27783"/>
                      <a:pt x="43136" y="23667"/>
                      <a:pt x="39231" y="21114"/>
                    </a:cubicBezTo>
                    <a:close/>
                  </a:path>
                </a:pathLst>
              </a:custGeom>
              <a:solidFill>
                <a:srgbClr val="000000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7" name="íṥḻiḑé"/>
              <p:cNvSpPr/>
              <p:nvPr/>
            </p:nvSpPr>
            <p:spPr>
              <a:xfrm>
                <a:off x="7123110" y="4003371"/>
                <a:ext cx="50188" cy="43273"/>
              </a:xfrm>
              <a:custGeom>
                <a:avLst/>
                <a:gdLst>
                  <a:gd name="connsiteX0" fmla="*/ 48750 w 50188"/>
                  <a:gd name="connsiteY0" fmla="*/ 31169 h 43273"/>
                  <a:gd name="connsiteX1" fmla="*/ 40639 w 50188"/>
                  <a:gd name="connsiteY1" fmla="*/ 19453 h 43273"/>
                  <a:gd name="connsiteX2" fmla="*/ 15707 w 50188"/>
                  <a:gd name="connsiteY2" fmla="*/ 828 h 43273"/>
                  <a:gd name="connsiteX3" fmla="*/ 686 w 50188"/>
                  <a:gd name="connsiteY3" fmla="*/ 3682 h 43273"/>
                  <a:gd name="connsiteX4" fmla="*/ 14805 w 50188"/>
                  <a:gd name="connsiteY4" fmla="*/ 33723 h 43273"/>
                  <a:gd name="connsiteX5" fmla="*/ 47399 w 50188"/>
                  <a:gd name="connsiteY5" fmla="*/ 39430 h 43273"/>
                  <a:gd name="connsiteX6" fmla="*/ 48750 w 50188"/>
                  <a:gd name="connsiteY6" fmla="*/ 31169 h 43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0188" h="43273">
                    <a:moveTo>
                      <a:pt x="48750" y="31169"/>
                    </a:moveTo>
                    <a:cubicBezTo>
                      <a:pt x="47399" y="26483"/>
                      <a:pt x="44544" y="22382"/>
                      <a:pt x="40639" y="19453"/>
                    </a:cubicBezTo>
                    <a:lnTo>
                      <a:pt x="15707" y="828"/>
                    </a:lnTo>
                    <a:cubicBezTo>
                      <a:pt x="10598" y="-1034"/>
                      <a:pt x="4742" y="63"/>
                      <a:pt x="686" y="3682"/>
                    </a:cubicBezTo>
                    <a:cubicBezTo>
                      <a:pt x="-4422" y="10441"/>
                      <a:pt x="1887" y="23809"/>
                      <a:pt x="14805" y="33723"/>
                    </a:cubicBezTo>
                    <a:cubicBezTo>
                      <a:pt x="27722" y="43636"/>
                      <a:pt x="42293" y="46189"/>
                      <a:pt x="47399" y="39430"/>
                    </a:cubicBezTo>
                    <a:cubicBezTo>
                      <a:pt x="49051" y="36997"/>
                      <a:pt x="49502" y="33993"/>
                      <a:pt x="48750" y="31169"/>
                    </a:cubicBezTo>
                    <a:close/>
                  </a:path>
                </a:pathLst>
              </a:custGeom>
              <a:solidFill>
                <a:srgbClr val="000000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8" name="îşlïde"/>
              <p:cNvSpPr/>
              <p:nvPr/>
            </p:nvSpPr>
            <p:spPr>
              <a:xfrm>
                <a:off x="7110300" y="4078134"/>
                <a:ext cx="52553" cy="47239"/>
              </a:xfrm>
              <a:custGeom>
                <a:avLst/>
                <a:gdLst>
                  <a:gd name="connsiteX0" fmla="*/ 43838 w 52553"/>
                  <a:gd name="connsiteY0" fmla="*/ 22045 h 47239"/>
                  <a:gd name="connsiteX1" fmla="*/ 24311 w 52553"/>
                  <a:gd name="connsiteY1" fmla="*/ 4321 h 47239"/>
                  <a:gd name="connsiteX2" fmla="*/ -22 w 52553"/>
                  <a:gd name="connsiteY2" fmla="*/ 3269 h 47239"/>
                  <a:gd name="connsiteX3" fmla="*/ 16951 w 52553"/>
                  <a:gd name="connsiteY3" fmla="*/ 35563 h 47239"/>
                  <a:gd name="connsiteX4" fmla="*/ 50747 w 52553"/>
                  <a:gd name="connsiteY4" fmla="*/ 45326 h 47239"/>
                  <a:gd name="connsiteX5" fmla="*/ 43838 w 52553"/>
                  <a:gd name="connsiteY5" fmla="*/ 22045 h 47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2553" h="47239">
                    <a:moveTo>
                      <a:pt x="43838" y="22045"/>
                    </a:moveTo>
                    <a:lnTo>
                      <a:pt x="24311" y="4321"/>
                    </a:lnTo>
                    <a:cubicBezTo>
                      <a:pt x="13497" y="-936"/>
                      <a:pt x="3733" y="-1687"/>
                      <a:pt x="-22" y="3269"/>
                    </a:cubicBezTo>
                    <a:cubicBezTo>
                      <a:pt x="-3777" y="8226"/>
                      <a:pt x="2532" y="24448"/>
                      <a:pt x="16951" y="35563"/>
                    </a:cubicBezTo>
                    <a:cubicBezTo>
                      <a:pt x="31370" y="46678"/>
                      <a:pt x="44287" y="49532"/>
                      <a:pt x="50747" y="45326"/>
                    </a:cubicBezTo>
                    <a:cubicBezTo>
                      <a:pt x="52850" y="36885"/>
                      <a:pt x="50295" y="27932"/>
                      <a:pt x="43838" y="22045"/>
                    </a:cubicBezTo>
                    <a:close/>
                  </a:path>
                </a:pathLst>
              </a:custGeom>
              <a:solidFill>
                <a:srgbClr val="000000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9" name="îšļïḋè"/>
              <p:cNvSpPr/>
              <p:nvPr/>
            </p:nvSpPr>
            <p:spPr>
              <a:xfrm>
                <a:off x="7023654" y="4124162"/>
                <a:ext cx="41750" cy="47580"/>
              </a:xfrm>
              <a:custGeom>
                <a:avLst/>
                <a:gdLst>
                  <a:gd name="connsiteX0" fmla="*/ 35705 w 41750"/>
                  <a:gd name="connsiteY0" fmla="*/ 19275 h 47580"/>
                  <a:gd name="connsiteX1" fmla="*/ 28646 w 41750"/>
                  <a:gd name="connsiteY1" fmla="*/ 9812 h 47580"/>
                  <a:gd name="connsiteX2" fmla="*/ 1608 w 41750"/>
                  <a:gd name="connsiteY2" fmla="*/ 2302 h 47580"/>
                  <a:gd name="connsiteX3" fmla="*/ 10021 w 41750"/>
                  <a:gd name="connsiteY3" fmla="*/ 34145 h 47580"/>
                  <a:gd name="connsiteX4" fmla="*/ 36906 w 41750"/>
                  <a:gd name="connsiteY4" fmla="*/ 47513 h 47580"/>
                  <a:gd name="connsiteX5" fmla="*/ 35705 w 41750"/>
                  <a:gd name="connsiteY5" fmla="*/ 19275 h 47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750" h="47580">
                    <a:moveTo>
                      <a:pt x="35705" y="19275"/>
                    </a:moveTo>
                    <a:cubicBezTo>
                      <a:pt x="33602" y="16271"/>
                      <a:pt x="31198" y="13116"/>
                      <a:pt x="28646" y="9812"/>
                    </a:cubicBezTo>
                    <a:cubicBezTo>
                      <a:pt x="18581" y="650"/>
                      <a:pt x="7166" y="-2805"/>
                      <a:pt x="1608" y="2302"/>
                    </a:cubicBezTo>
                    <a:cubicBezTo>
                      <a:pt x="-3949" y="7409"/>
                      <a:pt x="-795" y="22129"/>
                      <a:pt x="10021" y="34145"/>
                    </a:cubicBezTo>
                    <a:cubicBezTo>
                      <a:pt x="16328" y="42676"/>
                      <a:pt x="26242" y="47648"/>
                      <a:pt x="36906" y="47513"/>
                    </a:cubicBezTo>
                    <a:cubicBezTo>
                      <a:pt x="42313" y="38741"/>
                      <a:pt x="41863" y="27566"/>
                      <a:pt x="35705" y="19275"/>
                    </a:cubicBezTo>
                    <a:close/>
                  </a:path>
                </a:pathLst>
              </a:custGeom>
              <a:solidFill>
                <a:srgbClr val="000000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0" name="i$ḻiḋé"/>
              <p:cNvSpPr/>
              <p:nvPr/>
            </p:nvSpPr>
            <p:spPr>
              <a:xfrm>
                <a:off x="6770094" y="4032816"/>
                <a:ext cx="46887" cy="59129"/>
              </a:xfrm>
              <a:custGeom>
                <a:avLst/>
                <a:gdLst>
                  <a:gd name="connsiteX0" fmla="*/ 13945 w 46887"/>
                  <a:gd name="connsiteY0" fmla="*/ 673 h 59129"/>
                  <a:gd name="connsiteX1" fmla="*/ -1075 w 46887"/>
                  <a:gd name="connsiteY1" fmla="*/ 23053 h 59129"/>
                  <a:gd name="connsiteX2" fmla="*/ 2530 w 46887"/>
                  <a:gd name="connsiteY2" fmla="*/ 33117 h 59129"/>
                  <a:gd name="connsiteX3" fmla="*/ 26712 w 46887"/>
                  <a:gd name="connsiteY3" fmla="*/ 58951 h 59129"/>
                  <a:gd name="connsiteX4" fmla="*/ 30768 w 46887"/>
                  <a:gd name="connsiteY4" fmla="*/ 58951 h 59129"/>
                  <a:gd name="connsiteX5" fmla="*/ 43384 w 46887"/>
                  <a:gd name="connsiteY5" fmla="*/ 23654 h 59129"/>
                  <a:gd name="connsiteX6" fmla="*/ 13945 w 46887"/>
                  <a:gd name="connsiteY6" fmla="*/ 673 h 591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6887" h="59129">
                    <a:moveTo>
                      <a:pt x="13945" y="673"/>
                    </a:moveTo>
                    <a:cubicBezTo>
                      <a:pt x="4633" y="4113"/>
                      <a:pt x="-1376" y="13125"/>
                      <a:pt x="-1075" y="23053"/>
                    </a:cubicBezTo>
                    <a:cubicBezTo>
                      <a:pt x="276" y="26508"/>
                      <a:pt x="1477" y="29812"/>
                      <a:pt x="2530" y="33117"/>
                    </a:cubicBezTo>
                    <a:cubicBezTo>
                      <a:pt x="6435" y="44892"/>
                      <a:pt x="15297" y="54355"/>
                      <a:pt x="26712" y="58951"/>
                    </a:cubicBezTo>
                    <a:cubicBezTo>
                      <a:pt x="28063" y="59102"/>
                      <a:pt x="29415" y="59102"/>
                      <a:pt x="30768" y="58951"/>
                    </a:cubicBezTo>
                    <a:cubicBezTo>
                      <a:pt x="43835" y="52478"/>
                      <a:pt x="49393" y="36902"/>
                      <a:pt x="43384" y="23654"/>
                    </a:cubicBezTo>
                    <a:cubicBezTo>
                      <a:pt x="39178" y="6982"/>
                      <a:pt x="25660" y="-2932"/>
                      <a:pt x="13945" y="673"/>
                    </a:cubicBezTo>
                    <a:close/>
                  </a:path>
                </a:pathLst>
              </a:custGeom>
              <a:solidFill>
                <a:srgbClr val="000000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1" name="îṡ1íďê"/>
              <p:cNvSpPr/>
              <p:nvPr/>
            </p:nvSpPr>
            <p:spPr>
              <a:xfrm>
                <a:off x="6926046" y="3949949"/>
                <a:ext cx="101466" cy="142601"/>
              </a:xfrm>
              <a:custGeom>
                <a:avLst/>
                <a:gdLst>
                  <a:gd name="connsiteX0" fmla="*/ 96665 w 101466"/>
                  <a:gd name="connsiteY0" fmla="*/ 142419 h 142601"/>
                  <a:gd name="connsiteX1" fmla="*/ 93810 w 101466"/>
                  <a:gd name="connsiteY1" fmla="*/ 141067 h 142601"/>
                  <a:gd name="connsiteX2" fmla="*/ -668 w 101466"/>
                  <a:gd name="connsiteY2" fmla="*/ 4984 h 142601"/>
                  <a:gd name="connsiteX3" fmla="*/ 685 w 101466"/>
                  <a:gd name="connsiteY3" fmla="*/ 328 h 142601"/>
                  <a:gd name="connsiteX4" fmla="*/ 5491 w 101466"/>
                  <a:gd name="connsiteY4" fmla="*/ 1830 h 142601"/>
                  <a:gd name="connsiteX5" fmla="*/ 99367 w 101466"/>
                  <a:gd name="connsiteY5" fmla="*/ 137012 h 142601"/>
                  <a:gd name="connsiteX6" fmla="*/ 99367 w 101466"/>
                  <a:gd name="connsiteY6" fmla="*/ 141893 h 142601"/>
                  <a:gd name="connsiteX7" fmla="*/ 99367 w 101466"/>
                  <a:gd name="connsiteY7" fmla="*/ 141969 h 142601"/>
                  <a:gd name="connsiteX8" fmla="*/ 96665 w 101466"/>
                  <a:gd name="connsiteY8" fmla="*/ 142419 h 142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1466" h="142601">
                    <a:moveTo>
                      <a:pt x="96665" y="142419"/>
                    </a:moveTo>
                    <a:cubicBezTo>
                      <a:pt x="95612" y="142404"/>
                      <a:pt x="94562" y="141909"/>
                      <a:pt x="93810" y="141067"/>
                    </a:cubicBezTo>
                    <a:cubicBezTo>
                      <a:pt x="59413" y="94955"/>
                      <a:pt x="7444" y="20906"/>
                      <a:pt x="-668" y="4984"/>
                    </a:cubicBezTo>
                    <a:cubicBezTo>
                      <a:pt x="-1568" y="3317"/>
                      <a:pt x="-967" y="1244"/>
                      <a:pt x="685" y="328"/>
                    </a:cubicBezTo>
                    <a:cubicBezTo>
                      <a:pt x="2488" y="-558"/>
                      <a:pt x="4591" y="103"/>
                      <a:pt x="5491" y="1830"/>
                    </a:cubicBezTo>
                    <a:cubicBezTo>
                      <a:pt x="13452" y="16850"/>
                      <a:pt x="65572" y="91050"/>
                      <a:pt x="99367" y="137012"/>
                    </a:cubicBezTo>
                    <a:cubicBezTo>
                      <a:pt x="100719" y="138349"/>
                      <a:pt x="100719" y="140527"/>
                      <a:pt x="99367" y="141893"/>
                    </a:cubicBezTo>
                    <a:cubicBezTo>
                      <a:pt x="99367" y="141924"/>
                      <a:pt x="99367" y="141938"/>
                      <a:pt x="99367" y="141969"/>
                    </a:cubicBezTo>
                    <a:cubicBezTo>
                      <a:pt x="98615" y="142509"/>
                      <a:pt x="97565" y="142675"/>
                      <a:pt x="96665" y="142419"/>
                    </a:cubicBezTo>
                    <a:close/>
                  </a:path>
                </a:pathLst>
              </a:custGeom>
              <a:solidFill>
                <a:srgbClr val="000000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2" name="ïṥļiḓe"/>
              <p:cNvSpPr/>
              <p:nvPr/>
            </p:nvSpPr>
            <p:spPr>
              <a:xfrm>
                <a:off x="6969373" y="3919991"/>
                <a:ext cx="149341" cy="145706"/>
              </a:xfrm>
              <a:custGeom>
                <a:avLst/>
                <a:gdLst>
                  <a:gd name="connsiteX0" fmla="*/ 144810 w 149341"/>
                  <a:gd name="connsiteY0" fmla="*/ 145040 h 145706"/>
                  <a:gd name="connsiteX1" fmla="*/ 142707 w 149341"/>
                  <a:gd name="connsiteY1" fmla="*/ 145040 h 145706"/>
                  <a:gd name="connsiteX2" fmla="*/ -285 w 149341"/>
                  <a:gd name="connsiteY2" fmla="*/ 5653 h 145706"/>
                  <a:gd name="connsiteX3" fmla="*/ 166 w 149341"/>
                  <a:gd name="connsiteY3" fmla="*/ 771 h 145706"/>
                  <a:gd name="connsiteX4" fmla="*/ 4972 w 149341"/>
                  <a:gd name="connsiteY4" fmla="*/ 1147 h 145706"/>
                  <a:gd name="connsiteX5" fmla="*/ 146914 w 149341"/>
                  <a:gd name="connsiteY5" fmla="*/ 139483 h 145706"/>
                  <a:gd name="connsiteX6" fmla="*/ 147513 w 149341"/>
                  <a:gd name="connsiteY6" fmla="*/ 144334 h 145706"/>
                  <a:gd name="connsiteX7" fmla="*/ 144810 w 149341"/>
                  <a:gd name="connsiteY7" fmla="*/ 145641 h 145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9341" h="145706">
                    <a:moveTo>
                      <a:pt x="144810" y="145040"/>
                    </a:moveTo>
                    <a:cubicBezTo>
                      <a:pt x="144059" y="145266"/>
                      <a:pt x="143459" y="145266"/>
                      <a:pt x="142707" y="145040"/>
                    </a:cubicBezTo>
                    <a:cubicBezTo>
                      <a:pt x="90888" y="102969"/>
                      <a:pt x="43123" y="56316"/>
                      <a:pt x="-285" y="5653"/>
                    </a:cubicBezTo>
                    <a:cubicBezTo>
                      <a:pt x="-1486" y="4196"/>
                      <a:pt x="-1336" y="2018"/>
                      <a:pt x="166" y="771"/>
                    </a:cubicBezTo>
                    <a:cubicBezTo>
                      <a:pt x="1517" y="-475"/>
                      <a:pt x="3771" y="-310"/>
                      <a:pt x="4972" y="1147"/>
                    </a:cubicBezTo>
                    <a:cubicBezTo>
                      <a:pt x="47929" y="51495"/>
                      <a:pt x="95544" y="97802"/>
                      <a:pt x="146914" y="139483"/>
                    </a:cubicBezTo>
                    <a:cubicBezTo>
                      <a:pt x="148415" y="140670"/>
                      <a:pt x="148716" y="142847"/>
                      <a:pt x="147513" y="144334"/>
                    </a:cubicBezTo>
                    <a:cubicBezTo>
                      <a:pt x="146763" y="145146"/>
                      <a:pt x="145861" y="145626"/>
                      <a:pt x="144810" y="145641"/>
                    </a:cubicBezTo>
                    <a:close/>
                  </a:path>
                </a:pathLst>
              </a:custGeom>
              <a:solidFill>
                <a:srgbClr val="000000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3" name="ïslîḑe"/>
              <p:cNvSpPr/>
              <p:nvPr/>
            </p:nvSpPr>
            <p:spPr>
              <a:xfrm>
                <a:off x="6994693" y="3884873"/>
                <a:ext cx="150728" cy="120889"/>
              </a:xfrm>
              <a:custGeom>
                <a:avLst/>
                <a:gdLst>
                  <a:gd name="connsiteX0" fmla="*/ 145775 w 150728"/>
                  <a:gd name="connsiteY0" fmla="*/ 120678 h 120889"/>
                  <a:gd name="connsiteX1" fmla="*/ 143822 w 150728"/>
                  <a:gd name="connsiteY1" fmla="*/ 120678 h 120889"/>
                  <a:gd name="connsiteX2" fmla="*/ 120089 w 150728"/>
                  <a:gd name="connsiteY2" fmla="*/ 102954 h 120889"/>
                  <a:gd name="connsiteX3" fmla="*/ -72 w 150728"/>
                  <a:gd name="connsiteY3" fmla="*/ 5924 h 120889"/>
                  <a:gd name="connsiteX4" fmla="*/ -72 w 150728"/>
                  <a:gd name="connsiteY4" fmla="*/ 967 h 120889"/>
                  <a:gd name="connsiteX5" fmla="*/ 4585 w 150728"/>
                  <a:gd name="connsiteY5" fmla="*/ 832 h 120889"/>
                  <a:gd name="connsiteX6" fmla="*/ 4735 w 150728"/>
                  <a:gd name="connsiteY6" fmla="*/ 967 h 120889"/>
                  <a:gd name="connsiteX7" fmla="*/ 124897 w 150728"/>
                  <a:gd name="connsiteY7" fmla="*/ 96946 h 120889"/>
                  <a:gd name="connsiteX8" fmla="*/ 148628 w 150728"/>
                  <a:gd name="connsiteY8" fmla="*/ 114670 h 120889"/>
                  <a:gd name="connsiteX9" fmla="*/ 148628 w 150728"/>
                  <a:gd name="connsiteY9" fmla="*/ 119477 h 120889"/>
                  <a:gd name="connsiteX10" fmla="*/ 145775 w 150728"/>
                  <a:gd name="connsiteY10" fmla="*/ 120678 h 1208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0728" h="120889">
                    <a:moveTo>
                      <a:pt x="145775" y="120678"/>
                    </a:moveTo>
                    <a:cubicBezTo>
                      <a:pt x="145174" y="120874"/>
                      <a:pt x="144424" y="120874"/>
                      <a:pt x="143822" y="120678"/>
                    </a:cubicBezTo>
                    <a:lnTo>
                      <a:pt x="120089" y="102954"/>
                    </a:lnTo>
                    <a:cubicBezTo>
                      <a:pt x="76532" y="70811"/>
                      <a:pt x="16901" y="26652"/>
                      <a:pt x="-72" y="5924"/>
                    </a:cubicBezTo>
                    <a:cubicBezTo>
                      <a:pt x="-1423" y="4527"/>
                      <a:pt x="-1423" y="2364"/>
                      <a:pt x="-72" y="967"/>
                    </a:cubicBezTo>
                    <a:cubicBezTo>
                      <a:pt x="1131" y="-354"/>
                      <a:pt x="3234" y="-414"/>
                      <a:pt x="4585" y="832"/>
                    </a:cubicBezTo>
                    <a:cubicBezTo>
                      <a:pt x="4585" y="877"/>
                      <a:pt x="4735" y="922"/>
                      <a:pt x="4735" y="967"/>
                    </a:cubicBezTo>
                    <a:cubicBezTo>
                      <a:pt x="21859" y="21094"/>
                      <a:pt x="81037" y="64953"/>
                      <a:pt x="124897" y="96946"/>
                    </a:cubicBezTo>
                    <a:lnTo>
                      <a:pt x="148628" y="114670"/>
                    </a:lnTo>
                    <a:cubicBezTo>
                      <a:pt x="149981" y="116007"/>
                      <a:pt x="149981" y="118140"/>
                      <a:pt x="148628" y="119477"/>
                    </a:cubicBezTo>
                    <a:cubicBezTo>
                      <a:pt x="147878" y="120273"/>
                      <a:pt x="146826" y="120708"/>
                      <a:pt x="145775" y="120678"/>
                    </a:cubicBezTo>
                    <a:close/>
                  </a:path>
                </a:pathLst>
              </a:custGeom>
              <a:solidFill>
                <a:srgbClr val="000000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4" name="íṥļíḓè"/>
              <p:cNvSpPr/>
              <p:nvPr/>
            </p:nvSpPr>
            <p:spPr>
              <a:xfrm>
                <a:off x="6669794" y="3716928"/>
                <a:ext cx="235342" cy="105141"/>
              </a:xfrm>
              <a:custGeom>
                <a:avLst/>
                <a:gdLst>
                  <a:gd name="connsiteX0" fmla="*/ 184088 w 235342"/>
                  <a:gd name="connsiteY0" fmla="*/ -65 h 105141"/>
                  <a:gd name="connsiteX1" fmla="*/ -208 w 235342"/>
                  <a:gd name="connsiteY1" fmla="*/ 21714 h 105141"/>
                  <a:gd name="connsiteX2" fmla="*/ 13159 w 235342"/>
                  <a:gd name="connsiteY2" fmla="*/ 58063 h 105141"/>
                  <a:gd name="connsiteX3" fmla="*/ 21120 w 235342"/>
                  <a:gd name="connsiteY3" fmla="*/ 105077 h 105141"/>
                  <a:gd name="connsiteX4" fmla="*/ 234257 w 235342"/>
                  <a:gd name="connsiteY4" fmla="*/ 49201 h 105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5342" h="105141">
                    <a:moveTo>
                      <a:pt x="184088" y="-65"/>
                    </a:moveTo>
                    <a:cubicBezTo>
                      <a:pt x="184088" y="-65"/>
                      <a:pt x="14061" y="13904"/>
                      <a:pt x="-208" y="21714"/>
                    </a:cubicBezTo>
                    <a:cubicBezTo>
                      <a:pt x="-3363" y="23517"/>
                      <a:pt x="2194" y="36735"/>
                      <a:pt x="13159" y="58063"/>
                    </a:cubicBezTo>
                    <a:cubicBezTo>
                      <a:pt x="14662" y="67827"/>
                      <a:pt x="17365" y="84950"/>
                      <a:pt x="21120" y="105077"/>
                    </a:cubicBezTo>
                    <a:lnTo>
                      <a:pt x="234257" y="49201"/>
                    </a:lnTo>
                    <a:close/>
                  </a:path>
                </a:pathLst>
              </a:custGeom>
              <a:solidFill>
                <a:srgbClr val="000000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5" name="iśḻíḍè"/>
              <p:cNvSpPr/>
              <p:nvPr/>
            </p:nvSpPr>
            <p:spPr>
              <a:xfrm>
                <a:off x="5122238" y="2972909"/>
                <a:ext cx="1639906" cy="2539984"/>
              </a:xfrm>
              <a:custGeom>
                <a:avLst/>
                <a:gdLst>
                  <a:gd name="connsiteX0" fmla="*/ 1036960 w 1639906"/>
                  <a:gd name="connsiteY0" fmla="*/ 53025 h 2539984"/>
                  <a:gd name="connsiteX1" fmla="*/ 1638820 w 1639906"/>
                  <a:gd name="connsiteY1" fmla="*/ 2493808 h 2539984"/>
                  <a:gd name="connsiteX2" fmla="*/ 908689 w 1639906"/>
                  <a:gd name="connsiteY2" fmla="*/ 2539920 h 2539984"/>
                  <a:gd name="connsiteX3" fmla="*/ 810606 w 1639906"/>
                  <a:gd name="connsiteY3" fmla="*/ 945676 h 2539984"/>
                  <a:gd name="connsiteX4" fmla="*/ 769301 w 1639906"/>
                  <a:gd name="connsiteY4" fmla="*/ 955589 h 2539984"/>
                  <a:gd name="connsiteX5" fmla="*/ 612491 w 1639906"/>
                  <a:gd name="connsiteY5" fmla="*/ 2517690 h 2539984"/>
                  <a:gd name="connsiteX6" fmla="*/ -1086 w 1639906"/>
                  <a:gd name="connsiteY6" fmla="*/ 2487649 h 2539984"/>
                  <a:gd name="connsiteX7" fmla="*/ 514258 w 1639906"/>
                  <a:gd name="connsiteY7" fmla="*/ 54377 h 2539984"/>
                  <a:gd name="connsiteX8" fmla="*/ 1036960 w 1639906"/>
                  <a:gd name="connsiteY8" fmla="*/ 53025 h 25399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39906" h="2539984">
                    <a:moveTo>
                      <a:pt x="1036960" y="53025"/>
                    </a:moveTo>
                    <a:cubicBezTo>
                      <a:pt x="1313933" y="517450"/>
                      <a:pt x="1638820" y="2493808"/>
                      <a:pt x="1638820" y="2493808"/>
                    </a:cubicBezTo>
                    <a:lnTo>
                      <a:pt x="908689" y="2539920"/>
                    </a:lnTo>
                    <a:lnTo>
                      <a:pt x="810606" y="945676"/>
                    </a:lnTo>
                    <a:lnTo>
                      <a:pt x="769301" y="955589"/>
                    </a:lnTo>
                    <a:lnTo>
                      <a:pt x="612491" y="2517690"/>
                    </a:lnTo>
                    <a:lnTo>
                      <a:pt x="-1086" y="2487649"/>
                    </a:lnTo>
                    <a:cubicBezTo>
                      <a:pt x="-1086" y="2487649"/>
                      <a:pt x="291359" y="542834"/>
                      <a:pt x="514258" y="54377"/>
                    </a:cubicBezTo>
                    <a:cubicBezTo>
                      <a:pt x="514559" y="54227"/>
                      <a:pt x="965315" y="-67136"/>
                      <a:pt x="1036960" y="53025"/>
                    </a:cubicBezTo>
                    <a:close/>
                  </a:path>
                </a:pathLst>
              </a:custGeom>
              <a:solidFill>
                <a:srgbClr val="000000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6" name="ï$líḑè"/>
              <p:cNvSpPr/>
              <p:nvPr/>
            </p:nvSpPr>
            <p:spPr>
              <a:xfrm>
                <a:off x="5825485" y="3156825"/>
                <a:ext cx="126468" cy="535770"/>
              </a:xfrm>
              <a:custGeom>
                <a:avLst/>
                <a:gdLst>
                  <a:gd name="connsiteX0" fmla="*/ 3269 w 126468"/>
                  <a:gd name="connsiteY0" fmla="*/ 535706 h 535770"/>
                  <a:gd name="connsiteX1" fmla="*/ -1086 w 126468"/>
                  <a:gd name="connsiteY1" fmla="*/ 531350 h 535770"/>
                  <a:gd name="connsiteX2" fmla="*/ -1086 w 126468"/>
                  <a:gd name="connsiteY2" fmla="*/ 4291 h 535770"/>
                  <a:gd name="connsiteX3" fmla="*/ 3269 w 126468"/>
                  <a:gd name="connsiteY3" fmla="*/ -65 h 535770"/>
                  <a:gd name="connsiteX4" fmla="*/ 121029 w 126468"/>
                  <a:gd name="connsiteY4" fmla="*/ -65 h 535770"/>
                  <a:gd name="connsiteX5" fmla="*/ 125383 w 126468"/>
                  <a:gd name="connsiteY5" fmla="*/ 4291 h 535770"/>
                  <a:gd name="connsiteX6" fmla="*/ 125383 w 126468"/>
                  <a:gd name="connsiteY6" fmla="*/ 324972 h 535770"/>
                  <a:gd name="connsiteX7" fmla="*/ 121029 w 126468"/>
                  <a:gd name="connsiteY7" fmla="*/ 329328 h 535770"/>
                  <a:gd name="connsiteX8" fmla="*/ 116672 w 126468"/>
                  <a:gd name="connsiteY8" fmla="*/ 324972 h 535770"/>
                  <a:gd name="connsiteX9" fmla="*/ 116672 w 126468"/>
                  <a:gd name="connsiteY9" fmla="*/ 8497 h 535770"/>
                  <a:gd name="connsiteX10" fmla="*/ 7625 w 126468"/>
                  <a:gd name="connsiteY10" fmla="*/ 8497 h 535770"/>
                  <a:gd name="connsiteX11" fmla="*/ 7625 w 126468"/>
                  <a:gd name="connsiteY11" fmla="*/ 531350 h 535770"/>
                  <a:gd name="connsiteX12" fmla="*/ 3269 w 126468"/>
                  <a:gd name="connsiteY12" fmla="*/ 535706 h 5357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26468" h="535770">
                    <a:moveTo>
                      <a:pt x="3269" y="535706"/>
                    </a:moveTo>
                    <a:cubicBezTo>
                      <a:pt x="867" y="535706"/>
                      <a:pt x="-1086" y="533753"/>
                      <a:pt x="-1086" y="531350"/>
                    </a:cubicBezTo>
                    <a:lnTo>
                      <a:pt x="-1086" y="4291"/>
                    </a:lnTo>
                    <a:cubicBezTo>
                      <a:pt x="-1086" y="1888"/>
                      <a:pt x="867" y="-65"/>
                      <a:pt x="3269" y="-65"/>
                    </a:cubicBezTo>
                    <a:lnTo>
                      <a:pt x="121029" y="-65"/>
                    </a:lnTo>
                    <a:cubicBezTo>
                      <a:pt x="123431" y="-65"/>
                      <a:pt x="125383" y="1888"/>
                      <a:pt x="125383" y="4291"/>
                    </a:cubicBezTo>
                    <a:lnTo>
                      <a:pt x="125383" y="324972"/>
                    </a:lnTo>
                    <a:cubicBezTo>
                      <a:pt x="125383" y="327375"/>
                      <a:pt x="123431" y="329328"/>
                      <a:pt x="121029" y="329328"/>
                    </a:cubicBezTo>
                    <a:cubicBezTo>
                      <a:pt x="118625" y="329328"/>
                      <a:pt x="116672" y="327375"/>
                      <a:pt x="116672" y="324972"/>
                    </a:cubicBezTo>
                    <a:lnTo>
                      <a:pt x="116672" y="8497"/>
                    </a:lnTo>
                    <a:lnTo>
                      <a:pt x="7625" y="8497"/>
                    </a:lnTo>
                    <a:lnTo>
                      <a:pt x="7625" y="531350"/>
                    </a:lnTo>
                    <a:cubicBezTo>
                      <a:pt x="7625" y="533753"/>
                      <a:pt x="5673" y="535706"/>
                      <a:pt x="3269" y="535706"/>
                    </a:cubicBezTo>
                    <a:close/>
                  </a:path>
                </a:pathLst>
              </a:custGeom>
              <a:solidFill>
                <a:srgbClr val="FFFFFF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7" name="îś1íďè"/>
              <p:cNvSpPr/>
              <p:nvPr/>
            </p:nvSpPr>
            <p:spPr>
              <a:xfrm>
                <a:off x="5575097" y="3059043"/>
                <a:ext cx="665545" cy="141790"/>
              </a:xfrm>
              <a:custGeom>
                <a:avLst/>
                <a:gdLst>
                  <a:gd name="connsiteX0" fmla="*/ -1086 w 665545"/>
                  <a:gd name="connsiteY0" fmla="*/ 141726 h 141790"/>
                  <a:gd name="connsiteX1" fmla="*/ 664460 w 665545"/>
                  <a:gd name="connsiteY1" fmla="*/ 141726 h 141790"/>
                  <a:gd name="connsiteX2" fmla="*/ 601675 w 665545"/>
                  <a:gd name="connsiteY2" fmla="*/ -65 h 141790"/>
                  <a:gd name="connsiteX3" fmla="*/ 49232 w 665545"/>
                  <a:gd name="connsiteY3" fmla="*/ -65 h 141790"/>
                  <a:gd name="connsiteX4" fmla="*/ -1086 w 665545"/>
                  <a:gd name="connsiteY4" fmla="*/ 141726 h 1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5545" h="141790">
                    <a:moveTo>
                      <a:pt x="-1086" y="141726"/>
                    </a:moveTo>
                    <a:lnTo>
                      <a:pt x="664460" y="141726"/>
                    </a:lnTo>
                    <a:cubicBezTo>
                      <a:pt x="646134" y="93361"/>
                      <a:pt x="625107" y="46032"/>
                      <a:pt x="601675" y="-65"/>
                    </a:cubicBezTo>
                    <a:lnTo>
                      <a:pt x="49232" y="-65"/>
                    </a:lnTo>
                    <a:cubicBezTo>
                      <a:pt x="32710" y="40189"/>
                      <a:pt x="15887" y="87954"/>
                      <a:pt x="-1086" y="141726"/>
                    </a:cubicBezTo>
                    <a:close/>
                  </a:path>
                </a:pathLst>
              </a:custGeom>
              <a:solidFill>
                <a:srgbClr val="A9543D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8" name="îŝlíde"/>
              <p:cNvSpPr/>
              <p:nvPr/>
            </p:nvSpPr>
            <p:spPr>
              <a:xfrm>
                <a:off x="5673630" y="1687249"/>
                <a:ext cx="428676" cy="457515"/>
              </a:xfrm>
              <a:custGeom>
                <a:avLst/>
                <a:gdLst>
                  <a:gd name="connsiteX0" fmla="*/ 428677 w 428676"/>
                  <a:gd name="connsiteY0" fmla="*/ 228758 h 457515"/>
                  <a:gd name="connsiteX1" fmla="*/ 214338 w 428676"/>
                  <a:gd name="connsiteY1" fmla="*/ 457515 h 457515"/>
                  <a:gd name="connsiteX2" fmla="*/ 0 w 428676"/>
                  <a:gd name="connsiteY2" fmla="*/ 228758 h 457515"/>
                  <a:gd name="connsiteX3" fmla="*/ 214338 w 428676"/>
                  <a:gd name="connsiteY3" fmla="*/ 0 h 457515"/>
                  <a:gd name="connsiteX4" fmla="*/ 428677 w 428676"/>
                  <a:gd name="connsiteY4" fmla="*/ 228758 h 4575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8676" h="457515">
                    <a:moveTo>
                      <a:pt x="428677" y="228758"/>
                    </a:moveTo>
                    <a:cubicBezTo>
                      <a:pt x="428677" y="355097"/>
                      <a:pt x="332714" y="457515"/>
                      <a:pt x="214338" y="457515"/>
                    </a:cubicBezTo>
                    <a:cubicBezTo>
                      <a:pt x="95963" y="457515"/>
                      <a:pt x="0" y="355097"/>
                      <a:pt x="0" y="228758"/>
                    </a:cubicBezTo>
                    <a:cubicBezTo>
                      <a:pt x="0" y="102418"/>
                      <a:pt x="95963" y="0"/>
                      <a:pt x="214338" y="0"/>
                    </a:cubicBezTo>
                    <a:cubicBezTo>
                      <a:pt x="332714" y="0"/>
                      <a:pt x="428677" y="102418"/>
                      <a:pt x="428677" y="228758"/>
                    </a:cubicBezTo>
                    <a:close/>
                  </a:path>
                </a:pathLst>
              </a:custGeom>
              <a:solidFill>
                <a:srgbClr val="A9543D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9" name="íṥļîďé"/>
              <p:cNvSpPr/>
              <p:nvPr/>
            </p:nvSpPr>
            <p:spPr>
              <a:xfrm>
                <a:off x="5961227" y="1607041"/>
                <a:ext cx="216029" cy="213912"/>
              </a:xfrm>
              <a:custGeom>
                <a:avLst/>
                <a:gdLst>
                  <a:gd name="connsiteX0" fmla="*/ 7065 w 216029"/>
                  <a:gd name="connsiteY0" fmla="*/ 122500 h 213912"/>
                  <a:gd name="connsiteX1" fmla="*/ 62490 w 216029"/>
                  <a:gd name="connsiteY1" fmla="*/ -65 h 213912"/>
                  <a:gd name="connsiteX2" fmla="*/ 214944 w 216029"/>
                  <a:gd name="connsiteY2" fmla="*/ 156746 h 213912"/>
                  <a:gd name="connsiteX3" fmla="*/ 103796 w 216029"/>
                  <a:gd name="connsiteY3" fmla="*/ 213522 h 213912"/>
                  <a:gd name="connsiteX4" fmla="*/ 7065 w 216029"/>
                  <a:gd name="connsiteY4" fmla="*/ 122500 h 213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6029" h="213912">
                    <a:moveTo>
                      <a:pt x="7065" y="122500"/>
                    </a:moveTo>
                    <a:cubicBezTo>
                      <a:pt x="7065" y="122500"/>
                      <a:pt x="-32438" y="-65"/>
                      <a:pt x="62490" y="-65"/>
                    </a:cubicBezTo>
                    <a:cubicBezTo>
                      <a:pt x="157417" y="-65"/>
                      <a:pt x="214944" y="118745"/>
                      <a:pt x="214944" y="156746"/>
                    </a:cubicBezTo>
                    <a:cubicBezTo>
                      <a:pt x="214944" y="194747"/>
                      <a:pt x="134586" y="216827"/>
                      <a:pt x="103796" y="213522"/>
                    </a:cubicBezTo>
                    <a:cubicBezTo>
                      <a:pt x="73004" y="210218"/>
                      <a:pt x="7065" y="122500"/>
                      <a:pt x="7065" y="122500"/>
                    </a:cubicBezTo>
                    <a:close/>
                  </a:path>
                </a:pathLst>
              </a:custGeom>
              <a:solidFill>
                <a:srgbClr val="FEA419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0" name="iśļîḍé"/>
              <p:cNvSpPr/>
              <p:nvPr/>
            </p:nvSpPr>
            <p:spPr>
              <a:xfrm>
                <a:off x="5614812" y="1918271"/>
                <a:ext cx="93967" cy="107400"/>
              </a:xfrm>
              <a:custGeom>
                <a:avLst/>
                <a:gdLst>
                  <a:gd name="connsiteX0" fmla="*/ 66294 w 93967"/>
                  <a:gd name="connsiteY0" fmla="*/ 12090 h 107400"/>
                  <a:gd name="connsiteX1" fmla="*/ 1706 w 93967"/>
                  <a:gd name="connsiteY1" fmla="*/ 32818 h 107400"/>
                  <a:gd name="connsiteX2" fmla="*/ 68096 w 93967"/>
                  <a:gd name="connsiteY2" fmla="*/ 105966 h 107400"/>
                  <a:gd name="connsiteX3" fmla="*/ 66294 w 93967"/>
                  <a:gd name="connsiteY3" fmla="*/ 12090 h 107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3967" h="107400">
                    <a:moveTo>
                      <a:pt x="66294" y="12090"/>
                    </a:moveTo>
                    <a:cubicBezTo>
                      <a:pt x="66294" y="12090"/>
                      <a:pt x="19431" y="-26061"/>
                      <a:pt x="1706" y="32818"/>
                    </a:cubicBezTo>
                    <a:cubicBezTo>
                      <a:pt x="-15415" y="89144"/>
                      <a:pt x="51123" y="113627"/>
                      <a:pt x="68096" y="105966"/>
                    </a:cubicBezTo>
                    <a:cubicBezTo>
                      <a:pt x="99788" y="91397"/>
                      <a:pt x="103092" y="58953"/>
                      <a:pt x="66294" y="12090"/>
                    </a:cubicBezTo>
                    <a:close/>
                  </a:path>
                </a:pathLst>
              </a:custGeom>
              <a:solidFill>
                <a:srgbClr val="A9543D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1" name="ïṩ1íḋè"/>
              <p:cNvSpPr/>
              <p:nvPr/>
            </p:nvSpPr>
            <p:spPr>
              <a:xfrm>
                <a:off x="5628239" y="1939562"/>
                <a:ext cx="58380" cy="41932"/>
              </a:xfrm>
              <a:custGeom>
                <a:avLst/>
                <a:gdLst>
                  <a:gd name="connsiteX0" fmla="*/ 52266 w 58380"/>
                  <a:gd name="connsiteY0" fmla="*/ 41867 h 41932"/>
                  <a:gd name="connsiteX1" fmla="*/ 48212 w 58380"/>
                  <a:gd name="connsiteY1" fmla="*/ 39464 h 41932"/>
                  <a:gd name="connsiteX2" fmla="*/ 3151 w 58380"/>
                  <a:gd name="connsiteY2" fmla="*/ 9424 h 41932"/>
                  <a:gd name="connsiteX3" fmla="*/ -1055 w 58380"/>
                  <a:gd name="connsiteY3" fmla="*/ 4377 h 41932"/>
                  <a:gd name="connsiteX4" fmla="*/ -1055 w 58380"/>
                  <a:gd name="connsiteY4" fmla="*/ 4167 h 41932"/>
                  <a:gd name="connsiteX5" fmla="*/ 4202 w 58380"/>
                  <a:gd name="connsiteY5" fmla="*/ -39 h 41932"/>
                  <a:gd name="connsiteX6" fmla="*/ 56622 w 58380"/>
                  <a:gd name="connsiteY6" fmla="*/ 34658 h 41932"/>
                  <a:gd name="connsiteX7" fmla="*/ 54970 w 58380"/>
                  <a:gd name="connsiteY7" fmla="*/ 41026 h 41932"/>
                  <a:gd name="connsiteX8" fmla="*/ 54820 w 58380"/>
                  <a:gd name="connsiteY8" fmla="*/ 41117 h 41932"/>
                  <a:gd name="connsiteX9" fmla="*/ 52266 w 58380"/>
                  <a:gd name="connsiteY9" fmla="*/ 41867 h 41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8380" h="41932">
                    <a:moveTo>
                      <a:pt x="52266" y="41867"/>
                    </a:moveTo>
                    <a:cubicBezTo>
                      <a:pt x="50614" y="41897"/>
                      <a:pt x="48962" y="40966"/>
                      <a:pt x="48212" y="39464"/>
                    </a:cubicBezTo>
                    <a:cubicBezTo>
                      <a:pt x="38147" y="23453"/>
                      <a:pt x="21776" y="12503"/>
                      <a:pt x="3151" y="9424"/>
                    </a:cubicBezTo>
                    <a:cubicBezTo>
                      <a:pt x="597" y="9199"/>
                      <a:pt x="-1356" y="6931"/>
                      <a:pt x="-1055" y="4377"/>
                    </a:cubicBezTo>
                    <a:cubicBezTo>
                      <a:pt x="-1055" y="4302"/>
                      <a:pt x="-1055" y="4242"/>
                      <a:pt x="-1055" y="4167"/>
                    </a:cubicBezTo>
                    <a:cubicBezTo>
                      <a:pt x="-754" y="1568"/>
                      <a:pt x="1648" y="-309"/>
                      <a:pt x="4202" y="-39"/>
                    </a:cubicBezTo>
                    <a:cubicBezTo>
                      <a:pt x="25980" y="3145"/>
                      <a:pt x="45206" y="15867"/>
                      <a:pt x="56622" y="34658"/>
                    </a:cubicBezTo>
                    <a:cubicBezTo>
                      <a:pt x="57973" y="36881"/>
                      <a:pt x="57223" y="39735"/>
                      <a:pt x="54970" y="41026"/>
                    </a:cubicBezTo>
                    <a:cubicBezTo>
                      <a:pt x="54970" y="41056"/>
                      <a:pt x="54820" y="41086"/>
                      <a:pt x="54820" y="41117"/>
                    </a:cubicBezTo>
                    <a:cubicBezTo>
                      <a:pt x="54068" y="41612"/>
                      <a:pt x="53168" y="41882"/>
                      <a:pt x="52266" y="41867"/>
                    </a:cubicBezTo>
                    <a:close/>
                  </a:path>
                </a:pathLst>
              </a:custGeom>
              <a:solidFill>
                <a:srgbClr val="000000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2" name="ïṥļïďè"/>
              <p:cNvSpPr/>
              <p:nvPr/>
            </p:nvSpPr>
            <p:spPr>
              <a:xfrm>
                <a:off x="5598680" y="3059043"/>
                <a:ext cx="612822" cy="70895"/>
              </a:xfrm>
              <a:custGeom>
                <a:avLst/>
                <a:gdLst>
                  <a:gd name="connsiteX0" fmla="*/ 25649 w 612822"/>
                  <a:gd name="connsiteY0" fmla="*/ -65 h 70895"/>
                  <a:gd name="connsiteX1" fmla="*/ -1086 w 612822"/>
                  <a:gd name="connsiteY1" fmla="*/ 70831 h 70895"/>
                  <a:gd name="connsiteX2" fmla="*/ 611737 w 612822"/>
                  <a:gd name="connsiteY2" fmla="*/ 70831 h 70895"/>
                  <a:gd name="connsiteX3" fmla="*/ 578092 w 612822"/>
                  <a:gd name="connsiteY3" fmla="*/ -65 h 70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12822" h="70895">
                    <a:moveTo>
                      <a:pt x="25649" y="-65"/>
                    </a:moveTo>
                    <a:cubicBezTo>
                      <a:pt x="16787" y="21564"/>
                      <a:pt x="7926" y="44996"/>
                      <a:pt x="-1086" y="70831"/>
                    </a:cubicBezTo>
                    <a:lnTo>
                      <a:pt x="611737" y="70831"/>
                    </a:lnTo>
                    <a:cubicBezTo>
                      <a:pt x="600472" y="44996"/>
                      <a:pt x="589357" y="21369"/>
                      <a:pt x="578092" y="-65"/>
                    </a:cubicBezTo>
                    <a:close/>
                  </a:path>
                </a:pathLst>
              </a:custGeom>
              <a:solidFill>
                <a:srgbClr val="000000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işļiḓe"/>
              <p:cNvSpPr/>
              <p:nvPr/>
            </p:nvSpPr>
            <p:spPr>
              <a:xfrm>
                <a:off x="5652679" y="1966088"/>
                <a:ext cx="26430" cy="37204"/>
              </a:xfrm>
              <a:custGeom>
                <a:avLst/>
                <a:gdLst>
                  <a:gd name="connsiteX0" fmla="*/ 3643 w 26430"/>
                  <a:gd name="connsiteY0" fmla="*/ 36971 h 37204"/>
                  <a:gd name="connsiteX1" fmla="*/ 1241 w 26430"/>
                  <a:gd name="connsiteY1" fmla="*/ 36971 h 37204"/>
                  <a:gd name="connsiteX2" fmla="*/ -413 w 26430"/>
                  <a:gd name="connsiteY2" fmla="*/ 30362 h 37204"/>
                  <a:gd name="connsiteX3" fmla="*/ 16410 w 26430"/>
                  <a:gd name="connsiteY3" fmla="*/ 2274 h 37204"/>
                  <a:gd name="connsiteX4" fmla="*/ 23019 w 26430"/>
                  <a:gd name="connsiteY4" fmla="*/ 622 h 37204"/>
                  <a:gd name="connsiteX5" fmla="*/ 24671 w 26430"/>
                  <a:gd name="connsiteY5" fmla="*/ 7231 h 37204"/>
                  <a:gd name="connsiteX6" fmla="*/ 7698 w 26430"/>
                  <a:gd name="connsiteY6" fmla="*/ 35319 h 37204"/>
                  <a:gd name="connsiteX7" fmla="*/ 3643 w 26430"/>
                  <a:gd name="connsiteY7" fmla="*/ 36971 h 37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6430" h="37204">
                    <a:moveTo>
                      <a:pt x="3643" y="36971"/>
                    </a:moveTo>
                    <a:cubicBezTo>
                      <a:pt x="2893" y="37196"/>
                      <a:pt x="1991" y="37196"/>
                      <a:pt x="1241" y="36971"/>
                    </a:cubicBezTo>
                    <a:cubicBezTo>
                      <a:pt x="-1013" y="35559"/>
                      <a:pt x="-1764" y="32660"/>
                      <a:pt x="-413" y="30362"/>
                    </a:cubicBezTo>
                    <a:lnTo>
                      <a:pt x="16410" y="2274"/>
                    </a:lnTo>
                    <a:cubicBezTo>
                      <a:pt x="17763" y="-9"/>
                      <a:pt x="20766" y="-745"/>
                      <a:pt x="23019" y="622"/>
                    </a:cubicBezTo>
                    <a:cubicBezTo>
                      <a:pt x="25273" y="1989"/>
                      <a:pt x="26023" y="4948"/>
                      <a:pt x="24671" y="7231"/>
                    </a:cubicBezTo>
                    <a:lnTo>
                      <a:pt x="7698" y="35319"/>
                    </a:lnTo>
                    <a:cubicBezTo>
                      <a:pt x="6648" y="36505"/>
                      <a:pt x="5144" y="37136"/>
                      <a:pt x="3643" y="36971"/>
                    </a:cubicBezTo>
                    <a:close/>
                  </a:path>
                </a:pathLst>
              </a:custGeom>
              <a:solidFill>
                <a:srgbClr val="000000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4" name="iŝlïdê"/>
              <p:cNvSpPr/>
              <p:nvPr/>
            </p:nvSpPr>
            <p:spPr>
              <a:xfrm>
                <a:off x="5866417" y="1903658"/>
                <a:ext cx="53976" cy="37728"/>
              </a:xfrm>
              <a:custGeom>
                <a:avLst/>
                <a:gdLst>
                  <a:gd name="connsiteX0" fmla="*/ 3642 w 53976"/>
                  <a:gd name="connsiteY0" fmla="*/ 37517 h 37728"/>
                  <a:gd name="connsiteX1" fmla="*/ 1240 w 53976"/>
                  <a:gd name="connsiteY1" fmla="*/ 37517 h 37728"/>
                  <a:gd name="connsiteX2" fmla="*/ -412 w 53976"/>
                  <a:gd name="connsiteY2" fmla="*/ 30923 h 37728"/>
                  <a:gd name="connsiteX3" fmla="*/ -412 w 53976"/>
                  <a:gd name="connsiteY3" fmla="*/ 30908 h 37728"/>
                  <a:gd name="connsiteX4" fmla="*/ 17311 w 53976"/>
                  <a:gd name="connsiteY4" fmla="*/ 2220 h 37728"/>
                  <a:gd name="connsiteX5" fmla="*/ 20916 w 53976"/>
                  <a:gd name="connsiteY5" fmla="*/ -34 h 37728"/>
                  <a:gd name="connsiteX6" fmla="*/ 24821 w 53976"/>
                  <a:gd name="connsiteY6" fmla="*/ 1318 h 37728"/>
                  <a:gd name="connsiteX7" fmla="*/ 51407 w 53976"/>
                  <a:gd name="connsiteY7" fmla="*/ 25801 h 37728"/>
                  <a:gd name="connsiteX8" fmla="*/ 51558 w 53976"/>
                  <a:gd name="connsiteY8" fmla="*/ 32635 h 37728"/>
                  <a:gd name="connsiteX9" fmla="*/ 44649 w 53976"/>
                  <a:gd name="connsiteY9" fmla="*/ 32711 h 37728"/>
                  <a:gd name="connsiteX10" fmla="*/ 22869 w 53976"/>
                  <a:gd name="connsiteY10" fmla="*/ 11682 h 37728"/>
                  <a:gd name="connsiteX11" fmla="*/ 7848 w 53976"/>
                  <a:gd name="connsiteY11" fmla="*/ 35414 h 37728"/>
                  <a:gd name="connsiteX12" fmla="*/ 3642 w 53976"/>
                  <a:gd name="connsiteY12" fmla="*/ 37517 h 3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3976" h="37728">
                    <a:moveTo>
                      <a:pt x="3642" y="37517"/>
                    </a:moveTo>
                    <a:cubicBezTo>
                      <a:pt x="2892" y="37712"/>
                      <a:pt x="1990" y="37712"/>
                      <a:pt x="1240" y="37517"/>
                    </a:cubicBezTo>
                    <a:cubicBezTo>
                      <a:pt x="-1013" y="36150"/>
                      <a:pt x="-1765" y="33206"/>
                      <a:pt x="-412" y="30923"/>
                    </a:cubicBezTo>
                    <a:cubicBezTo>
                      <a:pt x="-412" y="30923"/>
                      <a:pt x="-412" y="30908"/>
                      <a:pt x="-412" y="30908"/>
                    </a:cubicBezTo>
                    <a:lnTo>
                      <a:pt x="17311" y="2220"/>
                    </a:lnTo>
                    <a:cubicBezTo>
                      <a:pt x="18063" y="958"/>
                      <a:pt x="19414" y="132"/>
                      <a:pt x="20916" y="-34"/>
                    </a:cubicBezTo>
                    <a:cubicBezTo>
                      <a:pt x="22417" y="-199"/>
                      <a:pt x="23771" y="297"/>
                      <a:pt x="24821" y="1318"/>
                    </a:cubicBezTo>
                    <a:lnTo>
                      <a:pt x="51407" y="25801"/>
                    </a:lnTo>
                    <a:cubicBezTo>
                      <a:pt x="53360" y="27664"/>
                      <a:pt x="53360" y="30728"/>
                      <a:pt x="51558" y="32635"/>
                    </a:cubicBezTo>
                    <a:cubicBezTo>
                      <a:pt x="49605" y="34543"/>
                      <a:pt x="46602" y="34573"/>
                      <a:pt x="44649" y="32711"/>
                    </a:cubicBezTo>
                    <a:lnTo>
                      <a:pt x="22869" y="11682"/>
                    </a:lnTo>
                    <a:lnTo>
                      <a:pt x="7848" y="35414"/>
                    </a:lnTo>
                    <a:cubicBezTo>
                      <a:pt x="6948" y="36826"/>
                      <a:pt x="5296" y="37622"/>
                      <a:pt x="3642" y="37517"/>
                    </a:cubicBezTo>
                    <a:close/>
                  </a:path>
                </a:pathLst>
              </a:custGeom>
              <a:solidFill>
                <a:srgbClr val="000000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5" name="îSľîdè"/>
              <p:cNvSpPr/>
              <p:nvPr/>
            </p:nvSpPr>
            <p:spPr>
              <a:xfrm>
                <a:off x="5814520" y="1993360"/>
                <a:ext cx="112801" cy="31520"/>
              </a:xfrm>
              <a:custGeom>
                <a:avLst/>
                <a:gdLst>
                  <a:gd name="connsiteX0" fmla="*/ 111716 w 112801"/>
                  <a:gd name="connsiteY0" fmla="*/ 22165 h 31520"/>
                  <a:gd name="connsiteX1" fmla="*/ -1086 w 112801"/>
                  <a:gd name="connsiteY1" fmla="*/ -65 h 31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2801" h="31520">
                    <a:moveTo>
                      <a:pt x="111716" y="22165"/>
                    </a:moveTo>
                    <a:cubicBezTo>
                      <a:pt x="73264" y="40325"/>
                      <a:pt x="27602" y="31312"/>
                      <a:pt x="-1086" y="-65"/>
                    </a:cubicBezTo>
                    <a:close/>
                  </a:path>
                </a:pathLst>
              </a:custGeom>
              <a:solidFill>
                <a:srgbClr val="000000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6" name="îšḻíḋè"/>
              <p:cNvSpPr/>
              <p:nvPr/>
            </p:nvSpPr>
            <p:spPr>
              <a:xfrm>
                <a:off x="5708026" y="1856042"/>
                <a:ext cx="131577" cy="90640"/>
              </a:xfrm>
              <a:custGeom>
                <a:avLst/>
                <a:gdLst>
                  <a:gd name="connsiteX0" fmla="*/ 130491 w 131577"/>
                  <a:gd name="connsiteY0" fmla="*/ 65307 h 90640"/>
                  <a:gd name="connsiteX1" fmla="*/ -1086 w 131577"/>
                  <a:gd name="connsiteY1" fmla="*/ 38421 h 90640"/>
                  <a:gd name="connsiteX2" fmla="*/ 130491 w 131577"/>
                  <a:gd name="connsiteY2" fmla="*/ 65307 h 90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1577" h="90640">
                    <a:moveTo>
                      <a:pt x="130491" y="65307"/>
                    </a:moveTo>
                    <a:cubicBezTo>
                      <a:pt x="130491" y="65307"/>
                      <a:pt x="86932" y="-61764"/>
                      <a:pt x="-1086" y="38421"/>
                    </a:cubicBezTo>
                    <a:cubicBezTo>
                      <a:pt x="-484" y="38421"/>
                      <a:pt x="46078" y="135001"/>
                      <a:pt x="130491" y="65307"/>
                    </a:cubicBezTo>
                    <a:close/>
                  </a:path>
                </a:pathLst>
              </a:custGeom>
              <a:solidFill>
                <a:srgbClr val="FFFFFF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7" name="íṡľîḍé"/>
              <p:cNvSpPr/>
              <p:nvPr/>
            </p:nvSpPr>
            <p:spPr>
              <a:xfrm>
                <a:off x="4961663" y="2262522"/>
                <a:ext cx="1941821" cy="1582978"/>
              </a:xfrm>
              <a:custGeom>
                <a:avLst/>
                <a:gdLst>
                  <a:gd name="connsiteX0" fmla="*/ 1145415 w 1941821"/>
                  <a:gd name="connsiteY0" fmla="*/ 9999 h 1582978"/>
                  <a:gd name="connsiteX1" fmla="*/ 1470001 w 1941821"/>
                  <a:gd name="connsiteY1" fmla="*/ 139924 h 1582978"/>
                  <a:gd name="connsiteX2" fmla="*/ 1940735 w 1941821"/>
                  <a:gd name="connsiteY2" fmla="*/ 1459598 h 1582978"/>
                  <a:gd name="connsiteX3" fmla="*/ 1700412 w 1941821"/>
                  <a:gd name="connsiteY3" fmla="*/ 1582914 h 1582978"/>
                  <a:gd name="connsiteX4" fmla="*/ 1331666 w 1941821"/>
                  <a:gd name="connsiteY4" fmla="*/ 644302 h 1582978"/>
                  <a:gd name="connsiteX5" fmla="*/ 1331666 w 1941821"/>
                  <a:gd name="connsiteY5" fmla="*/ 831454 h 1582978"/>
                  <a:gd name="connsiteX6" fmla="*/ 497443 w 1941821"/>
                  <a:gd name="connsiteY6" fmla="*/ 836110 h 1582978"/>
                  <a:gd name="connsiteX7" fmla="*/ 487381 w 1941821"/>
                  <a:gd name="connsiteY7" fmla="*/ 595787 h 1582978"/>
                  <a:gd name="connsiteX8" fmla="*/ 312095 w 1941821"/>
                  <a:gd name="connsiteY8" fmla="*/ 941251 h 1582978"/>
                  <a:gd name="connsiteX9" fmla="*/ 113678 w 1941821"/>
                  <a:gd name="connsiteY9" fmla="*/ 1005387 h 1582978"/>
                  <a:gd name="connsiteX10" fmla="*/ -1076 w 1941821"/>
                  <a:gd name="connsiteY10" fmla="*/ 847225 h 1582978"/>
                  <a:gd name="connsiteX11" fmla="*/ 11991 w 1941821"/>
                  <a:gd name="connsiteY11" fmla="*/ 132263 h 1582978"/>
                  <a:gd name="connsiteX12" fmla="*/ 273343 w 1941821"/>
                  <a:gd name="connsiteY12" fmla="*/ 98167 h 1582978"/>
                  <a:gd name="connsiteX13" fmla="*/ 278901 w 1941821"/>
                  <a:gd name="connsiteY13" fmla="*/ 334886 h 1582978"/>
                  <a:gd name="connsiteX14" fmla="*/ 440368 w 1941821"/>
                  <a:gd name="connsiteY14" fmla="*/ 105077 h 1582978"/>
                  <a:gd name="connsiteX15" fmla="*/ 759246 w 1941821"/>
                  <a:gd name="connsiteY15" fmla="*/ -65 h 1582978"/>
                  <a:gd name="connsiteX16" fmla="*/ 941892 w 1941821"/>
                  <a:gd name="connsiteY16" fmla="*/ 116492 h 1582978"/>
                  <a:gd name="connsiteX17" fmla="*/ 1145415 w 1941821"/>
                  <a:gd name="connsiteY17" fmla="*/ 9999 h 15829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941821" h="1582978">
                    <a:moveTo>
                      <a:pt x="1145415" y="9999"/>
                    </a:moveTo>
                    <a:cubicBezTo>
                      <a:pt x="1145415" y="9999"/>
                      <a:pt x="1391145" y="61068"/>
                      <a:pt x="1470001" y="139924"/>
                    </a:cubicBezTo>
                    <a:cubicBezTo>
                      <a:pt x="1548857" y="218780"/>
                      <a:pt x="1940735" y="1459598"/>
                      <a:pt x="1940735" y="1459598"/>
                    </a:cubicBezTo>
                    <a:lnTo>
                      <a:pt x="1700412" y="1582914"/>
                    </a:lnTo>
                    <a:lnTo>
                      <a:pt x="1331666" y="644302"/>
                    </a:lnTo>
                    <a:lnTo>
                      <a:pt x="1331666" y="831454"/>
                    </a:lnTo>
                    <a:lnTo>
                      <a:pt x="497443" y="836110"/>
                    </a:lnTo>
                    <a:lnTo>
                      <a:pt x="487381" y="595787"/>
                    </a:lnTo>
                    <a:cubicBezTo>
                      <a:pt x="487381" y="595787"/>
                      <a:pt x="394255" y="797959"/>
                      <a:pt x="312095" y="941251"/>
                    </a:cubicBezTo>
                    <a:cubicBezTo>
                      <a:pt x="272140" y="1011095"/>
                      <a:pt x="165648" y="1023111"/>
                      <a:pt x="113678" y="1005387"/>
                    </a:cubicBezTo>
                    <a:cubicBezTo>
                      <a:pt x="61707" y="987664"/>
                      <a:pt x="-1978" y="913764"/>
                      <a:pt x="-1076" y="847225"/>
                    </a:cubicBezTo>
                    <a:lnTo>
                      <a:pt x="11991" y="132263"/>
                    </a:lnTo>
                    <a:lnTo>
                      <a:pt x="273343" y="98167"/>
                    </a:lnTo>
                    <a:lnTo>
                      <a:pt x="278901" y="334886"/>
                    </a:lnTo>
                    <a:cubicBezTo>
                      <a:pt x="278901" y="334886"/>
                      <a:pt x="390500" y="147884"/>
                      <a:pt x="440368" y="105077"/>
                    </a:cubicBezTo>
                    <a:cubicBezTo>
                      <a:pt x="482724" y="68728"/>
                      <a:pt x="759246" y="-65"/>
                      <a:pt x="759246" y="-65"/>
                    </a:cubicBezTo>
                    <a:cubicBezTo>
                      <a:pt x="759246" y="-65"/>
                      <a:pt x="759246" y="116492"/>
                      <a:pt x="941892" y="116492"/>
                    </a:cubicBezTo>
                    <a:cubicBezTo>
                      <a:pt x="1124537" y="116492"/>
                      <a:pt x="1145415" y="9999"/>
                      <a:pt x="1145415" y="9999"/>
                    </a:cubicBezTo>
                    <a:close/>
                  </a:path>
                </a:pathLst>
              </a:custGeom>
              <a:solidFill>
                <a:srgbClr val="5774CD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8" name="îṡļíḑê"/>
              <p:cNvSpPr/>
              <p:nvPr/>
            </p:nvSpPr>
            <p:spPr>
              <a:xfrm>
                <a:off x="5837650" y="3203387"/>
                <a:ext cx="25392" cy="521200"/>
              </a:xfrm>
              <a:custGeom>
                <a:avLst/>
                <a:gdLst>
                  <a:gd name="connsiteX0" fmla="*/ 19191 w 25392"/>
                  <a:gd name="connsiteY0" fmla="*/ 521136 h 521200"/>
                  <a:gd name="connsiteX1" fmla="*/ 13935 w 25392"/>
                  <a:gd name="connsiteY1" fmla="*/ 516029 h 521200"/>
                  <a:gd name="connsiteX2" fmla="*/ -1086 w 25392"/>
                  <a:gd name="connsiteY2" fmla="*/ 5342 h 521200"/>
                  <a:gd name="connsiteX3" fmla="*/ 4023 w 25392"/>
                  <a:gd name="connsiteY3" fmla="*/ -65 h 521200"/>
                  <a:gd name="connsiteX4" fmla="*/ 9279 w 25392"/>
                  <a:gd name="connsiteY4" fmla="*/ 5042 h 521200"/>
                  <a:gd name="connsiteX5" fmla="*/ 24299 w 25392"/>
                  <a:gd name="connsiteY5" fmla="*/ 515729 h 521200"/>
                  <a:gd name="connsiteX6" fmla="*/ 19342 w 25392"/>
                  <a:gd name="connsiteY6" fmla="*/ 521136 h 52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392" h="521200">
                    <a:moveTo>
                      <a:pt x="19191" y="521136"/>
                    </a:moveTo>
                    <a:cubicBezTo>
                      <a:pt x="16338" y="521136"/>
                      <a:pt x="14085" y="518868"/>
                      <a:pt x="13935" y="516029"/>
                    </a:cubicBezTo>
                    <a:lnTo>
                      <a:pt x="-1086" y="5342"/>
                    </a:lnTo>
                    <a:cubicBezTo>
                      <a:pt x="-1086" y="2474"/>
                      <a:pt x="1168" y="100"/>
                      <a:pt x="4023" y="-65"/>
                    </a:cubicBezTo>
                    <a:cubicBezTo>
                      <a:pt x="6875" y="-65"/>
                      <a:pt x="9129" y="2203"/>
                      <a:pt x="9279" y="5042"/>
                    </a:cubicBezTo>
                    <a:lnTo>
                      <a:pt x="24299" y="515729"/>
                    </a:lnTo>
                    <a:cubicBezTo>
                      <a:pt x="24450" y="518583"/>
                      <a:pt x="22196" y="520971"/>
                      <a:pt x="19342" y="52113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iSļíḑé"/>
              <p:cNvSpPr/>
              <p:nvPr/>
            </p:nvSpPr>
            <p:spPr>
              <a:xfrm>
                <a:off x="5471307" y="3338779"/>
                <a:ext cx="207880" cy="239211"/>
              </a:xfrm>
              <a:custGeom>
                <a:avLst/>
                <a:gdLst>
                  <a:gd name="connsiteX0" fmla="*/ 3271 w 207880"/>
                  <a:gd name="connsiteY0" fmla="*/ 239147 h 239211"/>
                  <a:gd name="connsiteX1" fmla="*/ -1086 w 207880"/>
                  <a:gd name="connsiteY1" fmla="*/ 234791 h 239211"/>
                  <a:gd name="connsiteX2" fmla="*/ 3271 w 207880"/>
                  <a:gd name="connsiteY2" fmla="*/ 230435 h 239211"/>
                  <a:gd name="connsiteX3" fmla="*/ 97748 w 207880"/>
                  <a:gd name="connsiteY3" fmla="*/ 195739 h 239211"/>
                  <a:gd name="connsiteX4" fmla="*/ 157829 w 207880"/>
                  <a:gd name="connsiteY4" fmla="*/ 118084 h 239211"/>
                  <a:gd name="connsiteX5" fmla="*/ 198082 w 207880"/>
                  <a:gd name="connsiteY5" fmla="*/ 4231 h 239211"/>
                  <a:gd name="connsiteX6" fmla="*/ 202439 w 207880"/>
                  <a:gd name="connsiteY6" fmla="*/ -64 h 239211"/>
                  <a:gd name="connsiteX7" fmla="*/ 206795 w 207880"/>
                  <a:gd name="connsiteY7" fmla="*/ 4366 h 239211"/>
                  <a:gd name="connsiteX8" fmla="*/ 206495 w 207880"/>
                  <a:gd name="connsiteY8" fmla="*/ 5883 h 239211"/>
                  <a:gd name="connsiteX9" fmla="*/ 165490 w 207880"/>
                  <a:gd name="connsiteY9" fmla="*/ 121990 h 239211"/>
                  <a:gd name="connsiteX10" fmla="*/ 3271 w 207880"/>
                  <a:gd name="connsiteY10" fmla="*/ 239147 h 239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7880" h="239211">
                    <a:moveTo>
                      <a:pt x="3271" y="239147"/>
                    </a:moveTo>
                    <a:cubicBezTo>
                      <a:pt x="867" y="239147"/>
                      <a:pt x="-1086" y="237194"/>
                      <a:pt x="-1086" y="234791"/>
                    </a:cubicBezTo>
                    <a:cubicBezTo>
                      <a:pt x="-1086" y="232388"/>
                      <a:pt x="867" y="230435"/>
                      <a:pt x="3271" y="230435"/>
                    </a:cubicBezTo>
                    <a:cubicBezTo>
                      <a:pt x="37818" y="230465"/>
                      <a:pt x="71313" y="218164"/>
                      <a:pt x="97748" y="195739"/>
                    </a:cubicBezTo>
                    <a:cubicBezTo>
                      <a:pt x="122681" y="174035"/>
                      <a:pt x="143110" y="147659"/>
                      <a:pt x="157829" y="118084"/>
                    </a:cubicBezTo>
                    <a:cubicBezTo>
                      <a:pt x="176153" y="82081"/>
                      <a:pt x="189822" y="43795"/>
                      <a:pt x="198082" y="4231"/>
                    </a:cubicBezTo>
                    <a:cubicBezTo>
                      <a:pt x="198082" y="1828"/>
                      <a:pt x="200035" y="-94"/>
                      <a:pt x="202439" y="-64"/>
                    </a:cubicBezTo>
                    <a:cubicBezTo>
                      <a:pt x="204843" y="-20"/>
                      <a:pt x="206795" y="1948"/>
                      <a:pt x="206795" y="4366"/>
                    </a:cubicBezTo>
                    <a:cubicBezTo>
                      <a:pt x="206795" y="4877"/>
                      <a:pt x="206645" y="5403"/>
                      <a:pt x="206495" y="5883"/>
                    </a:cubicBezTo>
                    <a:cubicBezTo>
                      <a:pt x="198233" y="46273"/>
                      <a:pt x="184415" y="85340"/>
                      <a:pt x="165490" y="121990"/>
                    </a:cubicBezTo>
                    <a:cubicBezTo>
                      <a:pt x="125235" y="198593"/>
                      <a:pt x="69210" y="239147"/>
                      <a:pt x="3271" y="239147"/>
                    </a:cubicBezTo>
                    <a:close/>
                  </a:path>
                </a:pathLst>
              </a:custGeom>
              <a:solidFill>
                <a:srgbClr val="FFFFFF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ísľiḑe"/>
              <p:cNvSpPr/>
              <p:nvPr/>
            </p:nvSpPr>
            <p:spPr>
              <a:xfrm>
                <a:off x="6151643" y="3335487"/>
                <a:ext cx="211939" cy="225760"/>
              </a:xfrm>
              <a:custGeom>
                <a:avLst/>
                <a:gdLst>
                  <a:gd name="connsiteX0" fmla="*/ 205673 w 211939"/>
                  <a:gd name="connsiteY0" fmla="*/ 225617 h 225760"/>
                  <a:gd name="connsiteX1" fmla="*/ 41802 w 211939"/>
                  <a:gd name="connsiteY1" fmla="*/ 114918 h 225760"/>
                  <a:gd name="connsiteX2" fmla="*/ -1006 w 211939"/>
                  <a:gd name="connsiteY2" fmla="*/ 5121 h 225760"/>
                  <a:gd name="connsiteX3" fmla="*/ 2298 w 211939"/>
                  <a:gd name="connsiteY3" fmla="*/ 14 h 225760"/>
                  <a:gd name="connsiteX4" fmla="*/ 7407 w 211939"/>
                  <a:gd name="connsiteY4" fmla="*/ 3453 h 225760"/>
                  <a:gd name="connsiteX5" fmla="*/ 7407 w 211939"/>
                  <a:gd name="connsiteY5" fmla="*/ 3468 h 225760"/>
                  <a:gd name="connsiteX6" fmla="*/ 49462 w 211939"/>
                  <a:gd name="connsiteY6" fmla="*/ 110863 h 225760"/>
                  <a:gd name="connsiteX7" fmla="*/ 110445 w 211939"/>
                  <a:gd name="connsiteY7" fmla="*/ 184011 h 225760"/>
                  <a:gd name="connsiteX8" fmla="*/ 205673 w 211939"/>
                  <a:gd name="connsiteY8" fmla="*/ 217056 h 225760"/>
                  <a:gd name="connsiteX9" fmla="*/ 210779 w 211939"/>
                  <a:gd name="connsiteY9" fmla="*/ 220525 h 225760"/>
                  <a:gd name="connsiteX10" fmla="*/ 207325 w 211939"/>
                  <a:gd name="connsiteY10" fmla="*/ 225617 h 225760"/>
                  <a:gd name="connsiteX11" fmla="*/ 205673 w 211939"/>
                  <a:gd name="connsiteY11" fmla="*/ 225617 h 225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1939" h="225760">
                    <a:moveTo>
                      <a:pt x="205673" y="225617"/>
                    </a:moveTo>
                    <a:cubicBezTo>
                      <a:pt x="139734" y="225617"/>
                      <a:pt x="83107" y="187466"/>
                      <a:pt x="41802" y="114918"/>
                    </a:cubicBezTo>
                    <a:cubicBezTo>
                      <a:pt x="22575" y="80462"/>
                      <a:pt x="8157" y="43512"/>
                      <a:pt x="-1006" y="5121"/>
                    </a:cubicBezTo>
                    <a:cubicBezTo>
                      <a:pt x="-1457" y="2823"/>
                      <a:pt x="45" y="600"/>
                      <a:pt x="2298" y="14"/>
                    </a:cubicBezTo>
                    <a:cubicBezTo>
                      <a:pt x="4702" y="-437"/>
                      <a:pt x="6956" y="1095"/>
                      <a:pt x="7407" y="3453"/>
                    </a:cubicBezTo>
                    <a:cubicBezTo>
                      <a:pt x="7407" y="3468"/>
                      <a:pt x="7407" y="3468"/>
                      <a:pt x="7407" y="3468"/>
                    </a:cubicBezTo>
                    <a:cubicBezTo>
                      <a:pt x="16418" y="41019"/>
                      <a:pt x="30536" y="77158"/>
                      <a:pt x="49462" y="110863"/>
                    </a:cubicBezTo>
                    <a:cubicBezTo>
                      <a:pt x="64783" y="139056"/>
                      <a:pt x="85511" y="163914"/>
                      <a:pt x="110445" y="184011"/>
                    </a:cubicBezTo>
                    <a:cubicBezTo>
                      <a:pt x="137480" y="205490"/>
                      <a:pt x="171125" y="217146"/>
                      <a:pt x="205673" y="217056"/>
                    </a:cubicBezTo>
                    <a:cubicBezTo>
                      <a:pt x="208076" y="216605"/>
                      <a:pt x="210328" y="218167"/>
                      <a:pt x="210779" y="220525"/>
                    </a:cubicBezTo>
                    <a:cubicBezTo>
                      <a:pt x="211230" y="222899"/>
                      <a:pt x="209578" y="225167"/>
                      <a:pt x="207325" y="225617"/>
                    </a:cubicBezTo>
                    <a:cubicBezTo>
                      <a:pt x="206723" y="225722"/>
                      <a:pt x="206274" y="225722"/>
                      <a:pt x="205673" y="225617"/>
                    </a:cubicBezTo>
                    <a:close/>
                  </a:path>
                </a:pathLst>
              </a:custGeom>
              <a:solidFill>
                <a:srgbClr val="FFFFFF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iṡľiḋe"/>
              <p:cNvSpPr/>
              <p:nvPr/>
            </p:nvSpPr>
            <p:spPr>
              <a:xfrm>
                <a:off x="5523128" y="3335562"/>
                <a:ext cx="773239" cy="12623"/>
              </a:xfrm>
              <a:custGeom>
                <a:avLst/>
                <a:gdLst>
                  <a:gd name="connsiteX0" fmla="*/ 3269 w 773239"/>
                  <a:gd name="connsiteY0" fmla="*/ 12555 h 12623"/>
                  <a:gd name="connsiteX1" fmla="*/ -1086 w 773239"/>
                  <a:gd name="connsiteY1" fmla="*/ 8500 h 12623"/>
                  <a:gd name="connsiteX2" fmla="*/ -1086 w 773239"/>
                  <a:gd name="connsiteY2" fmla="*/ 8350 h 12623"/>
                  <a:gd name="connsiteX3" fmla="*/ 3120 w 773239"/>
                  <a:gd name="connsiteY3" fmla="*/ 3994 h 12623"/>
                  <a:gd name="connsiteX4" fmla="*/ 767797 w 773239"/>
                  <a:gd name="connsiteY4" fmla="*/ -62 h 12623"/>
                  <a:gd name="connsiteX5" fmla="*/ 767797 w 773239"/>
                  <a:gd name="connsiteY5" fmla="*/ -62 h 12623"/>
                  <a:gd name="connsiteX6" fmla="*/ 772154 w 773239"/>
                  <a:gd name="connsiteY6" fmla="*/ 3994 h 12623"/>
                  <a:gd name="connsiteX7" fmla="*/ 772154 w 773239"/>
                  <a:gd name="connsiteY7" fmla="*/ 4144 h 12623"/>
                  <a:gd name="connsiteX8" fmla="*/ 767797 w 773239"/>
                  <a:gd name="connsiteY8" fmla="*/ 8500 h 12623"/>
                  <a:gd name="connsiteX9" fmla="*/ 3269 w 773239"/>
                  <a:gd name="connsiteY9" fmla="*/ 12555 h 12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3239" h="12623">
                    <a:moveTo>
                      <a:pt x="3269" y="12555"/>
                    </a:moveTo>
                    <a:cubicBezTo>
                      <a:pt x="1017" y="12645"/>
                      <a:pt x="-935" y="10828"/>
                      <a:pt x="-1086" y="8500"/>
                    </a:cubicBezTo>
                    <a:cubicBezTo>
                      <a:pt x="-1086" y="8455"/>
                      <a:pt x="-1086" y="8395"/>
                      <a:pt x="-1086" y="8350"/>
                    </a:cubicBezTo>
                    <a:cubicBezTo>
                      <a:pt x="-1086" y="6007"/>
                      <a:pt x="717" y="4069"/>
                      <a:pt x="3120" y="3994"/>
                    </a:cubicBezTo>
                    <a:lnTo>
                      <a:pt x="767797" y="-62"/>
                    </a:lnTo>
                    <a:lnTo>
                      <a:pt x="767797" y="-62"/>
                    </a:lnTo>
                    <a:cubicBezTo>
                      <a:pt x="770051" y="-152"/>
                      <a:pt x="772004" y="1666"/>
                      <a:pt x="772154" y="3994"/>
                    </a:cubicBezTo>
                    <a:cubicBezTo>
                      <a:pt x="772154" y="4039"/>
                      <a:pt x="772154" y="4099"/>
                      <a:pt x="772154" y="4144"/>
                    </a:cubicBezTo>
                    <a:cubicBezTo>
                      <a:pt x="772154" y="6547"/>
                      <a:pt x="770201" y="8500"/>
                      <a:pt x="767797" y="8500"/>
                    </a:cubicBezTo>
                    <a:lnTo>
                      <a:pt x="3269" y="12555"/>
                    </a:lnTo>
                    <a:close/>
                  </a:path>
                </a:pathLst>
              </a:custGeom>
              <a:solidFill>
                <a:srgbClr val="FFFFFF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íŝļiḑè"/>
              <p:cNvSpPr/>
              <p:nvPr/>
            </p:nvSpPr>
            <p:spPr>
              <a:xfrm>
                <a:off x="5809704" y="3894027"/>
                <a:ext cx="198108" cy="60370"/>
              </a:xfrm>
              <a:custGeom>
                <a:avLst/>
                <a:gdLst>
                  <a:gd name="connsiteX0" fmla="*/ 2979 w 198108"/>
                  <a:gd name="connsiteY0" fmla="*/ 60306 h 60370"/>
                  <a:gd name="connsiteX1" fmla="*/ -1077 w 198108"/>
                  <a:gd name="connsiteY1" fmla="*/ 55619 h 60370"/>
                  <a:gd name="connsiteX2" fmla="*/ 1778 w 198108"/>
                  <a:gd name="connsiteY2" fmla="*/ 51894 h 60370"/>
                  <a:gd name="connsiteX3" fmla="*/ 191483 w 198108"/>
                  <a:gd name="connsiteY3" fmla="*/ 75 h 60370"/>
                  <a:gd name="connsiteX4" fmla="*/ 196890 w 198108"/>
                  <a:gd name="connsiteY4" fmla="*/ 3079 h 60370"/>
                  <a:gd name="connsiteX5" fmla="*/ 193735 w 198108"/>
                  <a:gd name="connsiteY5" fmla="*/ 8336 h 60370"/>
                  <a:gd name="connsiteX6" fmla="*/ 4029 w 198108"/>
                  <a:gd name="connsiteY6" fmla="*/ 60156 h 60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8108" h="60370">
                    <a:moveTo>
                      <a:pt x="2979" y="60306"/>
                    </a:moveTo>
                    <a:cubicBezTo>
                      <a:pt x="575" y="60110"/>
                      <a:pt x="-1227" y="58008"/>
                      <a:pt x="-1077" y="55619"/>
                    </a:cubicBezTo>
                    <a:cubicBezTo>
                      <a:pt x="-927" y="53937"/>
                      <a:pt x="274" y="52495"/>
                      <a:pt x="1778" y="51894"/>
                    </a:cubicBezTo>
                    <a:lnTo>
                      <a:pt x="191483" y="75"/>
                    </a:lnTo>
                    <a:cubicBezTo>
                      <a:pt x="193735" y="-511"/>
                      <a:pt x="196138" y="796"/>
                      <a:pt x="196890" y="3079"/>
                    </a:cubicBezTo>
                    <a:cubicBezTo>
                      <a:pt x="197490" y="5407"/>
                      <a:pt x="195988" y="7750"/>
                      <a:pt x="193735" y="8336"/>
                    </a:cubicBezTo>
                    <a:lnTo>
                      <a:pt x="4029" y="60156"/>
                    </a:lnTo>
                    <a:close/>
                  </a:path>
                </a:pathLst>
              </a:custGeom>
              <a:solidFill>
                <a:srgbClr val="FFFFFF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îṡlîḋé"/>
              <p:cNvSpPr/>
              <p:nvPr/>
            </p:nvSpPr>
            <p:spPr>
              <a:xfrm>
                <a:off x="5934832" y="1855221"/>
                <a:ext cx="131426" cy="90464"/>
              </a:xfrm>
              <a:custGeom>
                <a:avLst/>
                <a:gdLst>
                  <a:gd name="connsiteX0" fmla="*/ -1086 w 131426"/>
                  <a:gd name="connsiteY0" fmla="*/ 65828 h 90464"/>
                  <a:gd name="connsiteX1" fmla="*/ 130341 w 131426"/>
                  <a:gd name="connsiteY1" fmla="*/ 37890 h 90464"/>
                  <a:gd name="connsiteX2" fmla="*/ -1086 w 131426"/>
                  <a:gd name="connsiteY2" fmla="*/ 65828 h 90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1426" h="90464">
                    <a:moveTo>
                      <a:pt x="-1086" y="65828"/>
                    </a:moveTo>
                    <a:cubicBezTo>
                      <a:pt x="-1086" y="65828"/>
                      <a:pt x="41421" y="-61544"/>
                      <a:pt x="130341" y="37890"/>
                    </a:cubicBezTo>
                    <a:cubicBezTo>
                      <a:pt x="130341" y="37890"/>
                      <a:pt x="83777" y="134320"/>
                      <a:pt x="-1086" y="65828"/>
                    </a:cubicBezTo>
                    <a:close/>
                  </a:path>
                </a:pathLst>
              </a:custGeom>
              <a:solidFill>
                <a:srgbClr val="FFFFFF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íṡľíḍe"/>
              <p:cNvSpPr/>
              <p:nvPr/>
            </p:nvSpPr>
            <p:spPr>
              <a:xfrm>
                <a:off x="5932277" y="1814592"/>
                <a:ext cx="103595" cy="26164"/>
              </a:xfrm>
              <a:custGeom>
                <a:avLst/>
                <a:gdLst>
                  <a:gd name="connsiteX0" fmla="*/ 3570 w 103595"/>
                  <a:gd name="connsiteY0" fmla="*/ 26099 h 26164"/>
                  <a:gd name="connsiteX1" fmla="*/ 266 w 103595"/>
                  <a:gd name="connsiteY1" fmla="*/ 24747 h 26164"/>
                  <a:gd name="connsiteX2" fmla="*/ 266 w 103595"/>
                  <a:gd name="connsiteY2" fmla="*/ 17988 h 26164"/>
                  <a:gd name="connsiteX3" fmla="*/ 99700 w 103595"/>
                  <a:gd name="connsiteY3" fmla="*/ 11379 h 26164"/>
                  <a:gd name="connsiteX4" fmla="*/ 102103 w 103595"/>
                  <a:gd name="connsiteY4" fmla="*/ 17837 h 26164"/>
                  <a:gd name="connsiteX5" fmla="*/ 95794 w 103595"/>
                  <a:gd name="connsiteY5" fmla="*/ 20241 h 26164"/>
                  <a:gd name="connsiteX6" fmla="*/ 7325 w 103595"/>
                  <a:gd name="connsiteY6" fmla="*/ 24597 h 26164"/>
                  <a:gd name="connsiteX7" fmla="*/ 3570 w 103595"/>
                  <a:gd name="connsiteY7" fmla="*/ 26099 h 26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3595" h="26164">
                    <a:moveTo>
                      <a:pt x="3570" y="26099"/>
                    </a:moveTo>
                    <a:cubicBezTo>
                      <a:pt x="2369" y="26099"/>
                      <a:pt x="1168" y="25618"/>
                      <a:pt x="266" y="24747"/>
                    </a:cubicBezTo>
                    <a:cubicBezTo>
                      <a:pt x="-1536" y="22869"/>
                      <a:pt x="-1536" y="19865"/>
                      <a:pt x="266" y="17988"/>
                    </a:cubicBezTo>
                    <a:cubicBezTo>
                      <a:pt x="1617" y="16486"/>
                      <a:pt x="34062" y="-17160"/>
                      <a:pt x="99700" y="11379"/>
                    </a:cubicBezTo>
                    <a:cubicBezTo>
                      <a:pt x="102103" y="12535"/>
                      <a:pt x="103154" y="15389"/>
                      <a:pt x="102103" y="17837"/>
                    </a:cubicBezTo>
                    <a:cubicBezTo>
                      <a:pt x="101051" y="20226"/>
                      <a:pt x="98198" y="21307"/>
                      <a:pt x="95794" y="20241"/>
                    </a:cubicBezTo>
                    <a:cubicBezTo>
                      <a:pt x="35714" y="-5594"/>
                      <a:pt x="7626" y="24296"/>
                      <a:pt x="7325" y="24597"/>
                    </a:cubicBezTo>
                    <a:cubicBezTo>
                      <a:pt x="6275" y="25588"/>
                      <a:pt x="4923" y="26129"/>
                      <a:pt x="3570" y="26099"/>
                    </a:cubicBezTo>
                    <a:close/>
                  </a:path>
                </a:pathLst>
              </a:custGeom>
              <a:solidFill>
                <a:srgbClr val="000000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îślide"/>
              <p:cNvSpPr/>
              <p:nvPr/>
            </p:nvSpPr>
            <p:spPr>
              <a:xfrm>
                <a:off x="5737383" y="1814592"/>
                <a:ext cx="103571" cy="26173"/>
              </a:xfrm>
              <a:custGeom>
                <a:avLst/>
                <a:gdLst>
                  <a:gd name="connsiteX0" fmla="*/ 97680 w 103571"/>
                  <a:gd name="connsiteY0" fmla="*/ 26099 h 26173"/>
                  <a:gd name="connsiteX1" fmla="*/ 94075 w 103571"/>
                  <a:gd name="connsiteY1" fmla="*/ 24597 h 26173"/>
                  <a:gd name="connsiteX2" fmla="*/ 5606 w 103571"/>
                  <a:gd name="connsiteY2" fmla="*/ 20241 h 26173"/>
                  <a:gd name="connsiteX3" fmla="*/ -703 w 103571"/>
                  <a:gd name="connsiteY3" fmla="*/ 17837 h 26173"/>
                  <a:gd name="connsiteX4" fmla="*/ 1851 w 103571"/>
                  <a:gd name="connsiteY4" fmla="*/ 11379 h 26173"/>
                  <a:gd name="connsiteX5" fmla="*/ 101134 w 103571"/>
                  <a:gd name="connsiteY5" fmla="*/ 17988 h 26173"/>
                  <a:gd name="connsiteX6" fmla="*/ 101134 w 103571"/>
                  <a:gd name="connsiteY6" fmla="*/ 24747 h 26173"/>
                  <a:gd name="connsiteX7" fmla="*/ 97680 w 103571"/>
                  <a:gd name="connsiteY7" fmla="*/ 26099 h 26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3571" h="26173">
                    <a:moveTo>
                      <a:pt x="97680" y="26099"/>
                    </a:moveTo>
                    <a:cubicBezTo>
                      <a:pt x="96328" y="26053"/>
                      <a:pt x="95125" y="25513"/>
                      <a:pt x="94075" y="24597"/>
                    </a:cubicBezTo>
                    <a:cubicBezTo>
                      <a:pt x="92874" y="23245"/>
                      <a:pt x="64034" y="-5444"/>
                      <a:pt x="5606" y="20241"/>
                    </a:cubicBezTo>
                    <a:cubicBezTo>
                      <a:pt x="3202" y="21307"/>
                      <a:pt x="349" y="20226"/>
                      <a:pt x="-703" y="17837"/>
                    </a:cubicBezTo>
                    <a:cubicBezTo>
                      <a:pt x="-1754" y="15344"/>
                      <a:pt x="-553" y="12475"/>
                      <a:pt x="1851" y="11379"/>
                    </a:cubicBezTo>
                    <a:cubicBezTo>
                      <a:pt x="67489" y="-17160"/>
                      <a:pt x="99783" y="16486"/>
                      <a:pt x="101134" y="17988"/>
                    </a:cubicBezTo>
                    <a:cubicBezTo>
                      <a:pt x="102936" y="19865"/>
                      <a:pt x="102936" y="22869"/>
                      <a:pt x="101134" y="24747"/>
                    </a:cubicBezTo>
                    <a:cubicBezTo>
                      <a:pt x="100234" y="25693"/>
                      <a:pt x="99031" y="26189"/>
                      <a:pt x="97680" y="26099"/>
                    </a:cubicBezTo>
                    <a:close/>
                  </a:path>
                </a:pathLst>
              </a:custGeom>
              <a:solidFill>
                <a:srgbClr val="000000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6" name="i$ḷíḑe"/>
              <p:cNvSpPr/>
              <p:nvPr/>
            </p:nvSpPr>
            <p:spPr>
              <a:xfrm>
                <a:off x="5674230" y="1687249"/>
                <a:ext cx="428344" cy="228837"/>
              </a:xfrm>
              <a:custGeom>
                <a:avLst/>
                <a:gdLst>
                  <a:gd name="connsiteX0" fmla="*/ 212651 w 428344"/>
                  <a:gd name="connsiteY0" fmla="*/ -65 h 228837"/>
                  <a:gd name="connsiteX1" fmla="*/ -1086 w 428344"/>
                  <a:gd name="connsiteY1" fmla="*/ 211720 h 228837"/>
                  <a:gd name="connsiteX2" fmla="*/ 77321 w 428344"/>
                  <a:gd name="connsiteY2" fmla="*/ 100721 h 228837"/>
                  <a:gd name="connsiteX3" fmla="*/ 113819 w 428344"/>
                  <a:gd name="connsiteY3" fmla="*/ 32980 h 228837"/>
                  <a:gd name="connsiteX4" fmla="*/ 307731 w 428344"/>
                  <a:gd name="connsiteY4" fmla="*/ 70380 h 228837"/>
                  <a:gd name="connsiteX5" fmla="*/ 403108 w 428344"/>
                  <a:gd name="connsiteY5" fmla="*/ 148635 h 228837"/>
                  <a:gd name="connsiteX6" fmla="*/ 426990 w 428344"/>
                  <a:gd name="connsiteY6" fmla="*/ 228693 h 228837"/>
                  <a:gd name="connsiteX7" fmla="*/ 212651 w 428344"/>
                  <a:gd name="connsiteY7" fmla="*/ -65 h 2288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28344" h="228837">
                    <a:moveTo>
                      <a:pt x="212651" y="-65"/>
                    </a:moveTo>
                    <a:cubicBezTo>
                      <a:pt x="124483" y="-65"/>
                      <a:pt x="-1086" y="75036"/>
                      <a:pt x="-1086" y="211720"/>
                    </a:cubicBezTo>
                    <a:lnTo>
                      <a:pt x="77321" y="100721"/>
                    </a:lnTo>
                    <a:cubicBezTo>
                      <a:pt x="93542" y="167861"/>
                      <a:pt x="113819" y="32980"/>
                      <a:pt x="113819" y="32980"/>
                    </a:cubicBezTo>
                    <a:cubicBezTo>
                      <a:pt x="309082" y="181079"/>
                      <a:pt x="307731" y="70380"/>
                      <a:pt x="307731" y="70380"/>
                    </a:cubicBezTo>
                    <a:cubicBezTo>
                      <a:pt x="307731" y="70380"/>
                      <a:pt x="370215" y="203759"/>
                      <a:pt x="403108" y="148635"/>
                    </a:cubicBezTo>
                    <a:cubicBezTo>
                      <a:pt x="403108" y="148635"/>
                      <a:pt x="416928" y="231697"/>
                      <a:pt x="426990" y="228693"/>
                    </a:cubicBezTo>
                    <a:cubicBezTo>
                      <a:pt x="433901" y="67826"/>
                      <a:pt x="306379" y="-65"/>
                      <a:pt x="212651" y="-65"/>
                    </a:cubicBezTo>
                    <a:close/>
                  </a:path>
                </a:pathLst>
              </a:custGeom>
              <a:solidFill>
                <a:srgbClr val="FEA419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7" name="iṡlîḓê"/>
              <p:cNvSpPr/>
              <p:nvPr/>
            </p:nvSpPr>
            <p:spPr>
              <a:xfrm>
                <a:off x="6069259" y="1916558"/>
                <a:ext cx="93967" cy="107359"/>
              </a:xfrm>
              <a:custGeom>
                <a:avLst/>
                <a:gdLst>
                  <a:gd name="connsiteX0" fmla="*/ 25503 w 93967"/>
                  <a:gd name="connsiteY0" fmla="*/ 12001 h 107359"/>
                  <a:gd name="connsiteX1" fmla="*/ 90089 w 93967"/>
                  <a:gd name="connsiteY1" fmla="*/ 32879 h 107359"/>
                  <a:gd name="connsiteX2" fmla="*/ 23701 w 93967"/>
                  <a:gd name="connsiteY2" fmla="*/ 105877 h 107359"/>
                  <a:gd name="connsiteX3" fmla="*/ 25503 w 93967"/>
                  <a:gd name="connsiteY3" fmla="*/ 12001 h 107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3967" h="107359">
                    <a:moveTo>
                      <a:pt x="25503" y="12001"/>
                    </a:moveTo>
                    <a:cubicBezTo>
                      <a:pt x="25503" y="12001"/>
                      <a:pt x="72366" y="-26000"/>
                      <a:pt x="90089" y="32879"/>
                    </a:cubicBezTo>
                    <a:cubicBezTo>
                      <a:pt x="107212" y="89205"/>
                      <a:pt x="40674" y="113687"/>
                      <a:pt x="23701" y="105877"/>
                    </a:cubicBezTo>
                    <a:cubicBezTo>
                      <a:pt x="-7991" y="91458"/>
                      <a:pt x="-11297" y="58864"/>
                      <a:pt x="25503" y="12001"/>
                    </a:cubicBezTo>
                    <a:close/>
                  </a:path>
                </a:pathLst>
              </a:custGeom>
              <a:solidFill>
                <a:srgbClr val="A9543D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8" name="iSľíḓe"/>
              <p:cNvSpPr/>
              <p:nvPr/>
            </p:nvSpPr>
            <p:spPr>
              <a:xfrm>
                <a:off x="6091559" y="1938661"/>
                <a:ext cx="58394" cy="41338"/>
              </a:xfrm>
              <a:custGeom>
                <a:avLst/>
                <a:gdLst>
                  <a:gd name="connsiteX0" fmla="*/ 3804 w 58394"/>
                  <a:gd name="connsiteY0" fmla="*/ 41116 h 41338"/>
                  <a:gd name="connsiteX1" fmla="*/ 1402 w 58394"/>
                  <a:gd name="connsiteY1" fmla="*/ 41116 h 41338"/>
                  <a:gd name="connsiteX2" fmla="*/ -551 w 58394"/>
                  <a:gd name="connsiteY2" fmla="*/ 34808 h 41338"/>
                  <a:gd name="connsiteX3" fmla="*/ -401 w 58394"/>
                  <a:gd name="connsiteY3" fmla="*/ 34658 h 41338"/>
                  <a:gd name="connsiteX4" fmla="*/ 52020 w 58394"/>
                  <a:gd name="connsiteY4" fmla="*/ -39 h 41338"/>
                  <a:gd name="connsiteX5" fmla="*/ 57276 w 58394"/>
                  <a:gd name="connsiteY5" fmla="*/ 4167 h 41338"/>
                  <a:gd name="connsiteX6" fmla="*/ 53221 w 58394"/>
                  <a:gd name="connsiteY6" fmla="*/ 9394 h 41338"/>
                  <a:gd name="connsiteX7" fmla="*/ 53070 w 58394"/>
                  <a:gd name="connsiteY7" fmla="*/ 9424 h 41338"/>
                  <a:gd name="connsiteX8" fmla="*/ 8010 w 58394"/>
                  <a:gd name="connsiteY8" fmla="*/ 39464 h 41338"/>
                  <a:gd name="connsiteX9" fmla="*/ 3804 w 58394"/>
                  <a:gd name="connsiteY9" fmla="*/ 41116 h 413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8394" h="41338">
                    <a:moveTo>
                      <a:pt x="3804" y="41116"/>
                    </a:moveTo>
                    <a:cubicBezTo>
                      <a:pt x="3054" y="41327"/>
                      <a:pt x="2152" y="41327"/>
                      <a:pt x="1402" y="41116"/>
                    </a:cubicBezTo>
                    <a:cubicBezTo>
                      <a:pt x="-852" y="39900"/>
                      <a:pt x="-1754" y="37076"/>
                      <a:pt x="-551" y="34808"/>
                    </a:cubicBezTo>
                    <a:cubicBezTo>
                      <a:pt x="-401" y="34763"/>
                      <a:pt x="-401" y="34703"/>
                      <a:pt x="-401" y="34658"/>
                    </a:cubicBezTo>
                    <a:cubicBezTo>
                      <a:pt x="11015" y="15822"/>
                      <a:pt x="30239" y="3085"/>
                      <a:pt x="52020" y="-39"/>
                    </a:cubicBezTo>
                    <a:cubicBezTo>
                      <a:pt x="54572" y="-309"/>
                      <a:pt x="56976" y="1568"/>
                      <a:pt x="57276" y="4167"/>
                    </a:cubicBezTo>
                    <a:cubicBezTo>
                      <a:pt x="57577" y="6720"/>
                      <a:pt x="55775" y="9063"/>
                      <a:pt x="53221" y="9394"/>
                    </a:cubicBezTo>
                    <a:cubicBezTo>
                      <a:pt x="53221" y="9409"/>
                      <a:pt x="53070" y="9424"/>
                      <a:pt x="53070" y="9424"/>
                    </a:cubicBezTo>
                    <a:cubicBezTo>
                      <a:pt x="34445" y="12428"/>
                      <a:pt x="17923" y="23393"/>
                      <a:pt x="8010" y="39464"/>
                    </a:cubicBezTo>
                    <a:cubicBezTo>
                      <a:pt x="6959" y="40726"/>
                      <a:pt x="5457" y="41357"/>
                      <a:pt x="3804" y="4111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9" name="íŝḷîďe"/>
              <p:cNvSpPr/>
              <p:nvPr/>
            </p:nvSpPr>
            <p:spPr>
              <a:xfrm>
                <a:off x="6098929" y="1963835"/>
                <a:ext cx="26424" cy="37636"/>
              </a:xfrm>
              <a:custGeom>
                <a:avLst/>
                <a:gdLst>
                  <a:gd name="connsiteX0" fmla="*/ 20617 w 26424"/>
                  <a:gd name="connsiteY0" fmla="*/ 37572 h 37636"/>
                  <a:gd name="connsiteX1" fmla="*/ 16561 w 26424"/>
                  <a:gd name="connsiteY1" fmla="*/ 35168 h 37636"/>
                  <a:gd name="connsiteX2" fmla="*/ -412 w 26424"/>
                  <a:gd name="connsiteY2" fmla="*/ 7231 h 37636"/>
                  <a:gd name="connsiteX3" fmla="*/ 1240 w 26424"/>
                  <a:gd name="connsiteY3" fmla="*/ 622 h 37636"/>
                  <a:gd name="connsiteX4" fmla="*/ 7848 w 26424"/>
                  <a:gd name="connsiteY4" fmla="*/ 2274 h 37636"/>
                  <a:gd name="connsiteX5" fmla="*/ 24671 w 26424"/>
                  <a:gd name="connsiteY5" fmla="*/ 30362 h 37636"/>
                  <a:gd name="connsiteX6" fmla="*/ 22869 w 26424"/>
                  <a:gd name="connsiteY6" fmla="*/ 36926 h 37636"/>
                  <a:gd name="connsiteX7" fmla="*/ 20617 w 26424"/>
                  <a:gd name="connsiteY7" fmla="*/ 37572 h 37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6424" h="37636">
                    <a:moveTo>
                      <a:pt x="20617" y="37572"/>
                    </a:moveTo>
                    <a:cubicBezTo>
                      <a:pt x="18963" y="37527"/>
                      <a:pt x="17461" y="36625"/>
                      <a:pt x="16561" y="35168"/>
                    </a:cubicBezTo>
                    <a:lnTo>
                      <a:pt x="-412" y="7231"/>
                    </a:lnTo>
                    <a:cubicBezTo>
                      <a:pt x="-1765" y="4948"/>
                      <a:pt x="-1013" y="1989"/>
                      <a:pt x="1240" y="622"/>
                    </a:cubicBezTo>
                    <a:cubicBezTo>
                      <a:pt x="3494" y="-745"/>
                      <a:pt x="6497" y="-9"/>
                      <a:pt x="7848" y="2274"/>
                    </a:cubicBezTo>
                    <a:lnTo>
                      <a:pt x="24671" y="30362"/>
                    </a:lnTo>
                    <a:cubicBezTo>
                      <a:pt x="26024" y="32660"/>
                      <a:pt x="25272" y="35604"/>
                      <a:pt x="22869" y="36926"/>
                    </a:cubicBezTo>
                    <a:cubicBezTo>
                      <a:pt x="22269" y="37331"/>
                      <a:pt x="21367" y="37557"/>
                      <a:pt x="20617" y="37572"/>
                    </a:cubicBezTo>
                    <a:close/>
                  </a:path>
                </a:pathLst>
              </a:custGeom>
              <a:solidFill>
                <a:srgbClr val="000000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0" name="îṣḻíḍê"/>
              <p:cNvSpPr/>
              <p:nvPr/>
            </p:nvSpPr>
            <p:spPr>
              <a:xfrm>
                <a:off x="5728603" y="1856051"/>
                <a:ext cx="95528" cy="90517"/>
              </a:xfrm>
              <a:custGeom>
                <a:avLst/>
                <a:gdLst>
                  <a:gd name="connsiteX0" fmla="*/ 94443 w 95528"/>
                  <a:gd name="connsiteY0" fmla="*/ 45321 h 90517"/>
                  <a:gd name="connsiteX1" fmla="*/ 92492 w 95528"/>
                  <a:gd name="connsiteY1" fmla="*/ 31953 h 90517"/>
                  <a:gd name="connsiteX2" fmla="*/ 23397 w 95528"/>
                  <a:gd name="connsiteY2" fmla="*/ 3565 h 90517"/>
                  <a:gd name="connsiteX3" fmla="*/ -1086 w 95528"/>
                  <a:gd name="connsiteY3" fmla="*/ 45321 h 90517"/>
                  <a:gd name="connsiteX4" fmla="*/ 11082 w 95528"/>
                  <a:gd name="connsiteY4" fmla="*/ 77014 h 90517"/>
                  <a:gd name="connsiteX5" fmla="*/ 66656 w 95528"/>
                  <a:gd name="connsiteY5" fmla="*/ 88579 h 90517"/>
                  <a:gd name="connsiteX6" fmla="*/ 94443 w 95528"/>
                  <a:gd name="connsiteY6" fmla="*/ 45321 h 90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5528" h="90517">
                    <a:moveTo>
                      <a:pt x="94443" y="45321"/>
                    </a:moveTo>
                    <a:cubicBezTo>
                      <a:pt x="94443" y="40785"/>
                      <a:pt x="93843" y="36279"/>
                      <a:pt x="92492" y="31953"/>
                    </a:cubicBezTo>
                    <a:cubicBezTo>
                      <a:pt x="77472" y="11526"/>
                      <a:pt x="55240" y="-8451"/>
                      <a:pt x="23397" y="3565"/>
                    </a:cubicBezTo>
                    <a:cubicBezTo>
                      <a:pt x="8377" y="12051"/>
                      <a:pt x="-1086" y="28003"/>
                      <a:pt x="-1086" y="45321"/>
                    </a:cubicBezTo>
                    <a:cubicBezTo>
                      <a:pt x="-1086" y="57022"/>
                      <a:pt x="3271" y="68317"/>
                      <a:pt x="11082" y="77014"/>
                    </a:cubicBezTo>
                    <a:cubicBezTo>
                      <a:pt x="26852" y="89030"/>
                      <a:pt x="47281" y="93280"/>
                      <a:pt x="66656" y="88579"/>
                    </a:cubicBezTo>
                    <a:cubicBezTo>
                      <a:pt x="83628" y="80829"/>
                      <a:pt x="94443" y="63931"/>
                      <a:pt x="94443" y="45321"/>
                    </a:cubicBezTo>
                    <a:close/>
                  </a:path>
                </a:pathLst>
              </a:custGeom>
              <a:solidFill>
                <a:srgbClr val="000000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1" name="ïṡḷíďè"/>
              <p:cNvSpPr/>
              <p:nvPr/>
            </p:nvSpPr>
            <p:spPr>
              <a:xfrm>
                <a:off x="5950151" y="1855242"/>
                <a:ext cx="95414" cy="91029"/>
              </a:xfrm>
              <a:custGeom>
                <a:avLst/>
                <a:gdLst>
                  <a:gd name="connsiteX0" fmla="*/ 94294 w 95414"/>
                  <a:gd name="connsiteY0" fmla="*/ 44928 h 91029"/>
                  <a:gd name="connsiteX1" fmla="*/ 69661 w 95414"/>
                  <a:gd name="connsiteY1" fmla="*/ 3472 h 91029"/>
                  <a:gd name="connsiteX2" fmla="*/ 717 w 95414"/>
                  <a:gd name="connsiteY2" fmla="*/ 32161 h 91029"/>
                  <a:gd name="connsiteX3" fmla="*/ -1086 w 95414"/>
                  <a:gd name="connsiteY3" fmla="*/ 45529 h 91029"/>
                  <a:gd name="connsiteX4" fmla="*/ 27754 w 95414"/>
                  <a:gd name="connsiteY4" fmla="*/ 89238 h 91029"/>
                  <a:gd name="connsiteX5" fmla="*/ 83177 w 95414"/>
                  <a:gd name="connsiteY5" fmla="*/ 77222 h 91029"/>
                  <a:gd name="connsiteX6" fmla="*/ 94294 w 95414"/>
                  <a:gd name="connsiteY6" fmla="*/ 44928 h 910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5414" h="91029">
                    <a:moveTo>
                      <a:pt x="94294" y="44928"/>
                    </a:moveTo>
                    <a:cubicBezTo>
                      <a:pt x="94144" y="27670"/>
                      <a:pt x="84831" y="11809"/>
                      <a:pt x="69661" y="3472"/>
                    </a:cubicBezTo>
                    <a:cubicBezTo>
                      <a:pt x="37668" y="-8393"/>
                      <a:pt x="14686" y="11734"/>
                      <a:pt x="717" y="32161"/>
                    </a:cubicBezTo>
                    <a:cubicBezTo>
                      <a:pt x="-484" y="36502"/>
                      <a:pt x="-1086" y="41008"/>
                      <a:pt x="-1086" y="45529"/>
                    </a:cubicBezTo>
                    <a:cubicBezTo>
                      <a:pt x="-1086" y="64545"/>
                      <a:pt x="10330" y="81713"/>
                      <a:pt x="27754" y="89238"/>
                    </a:cubicBezTo>
                    <a:cubicBezTo>
                      <a:pt x="47130" y="93744"/>
                      <a:pt x="67407" y="89328"/>
                      <a:pt x="83177" y="77222"/>
                    </a:cubicBezTo>
                    <a:cubicBezTo>
                      <a:pt x="90838" y="68225"/>
                      <a:pt x="94743" y="56704"/>
                      <a:pt x="94294" y="44928"/>
                    </a:cubicBezTo>
                    <a:close/>
                  </a:path>
                </a:pathLst>
              </a:custGeom>
              <a:solidFill>
                <a:srgbClr val="000000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2" name="îṩḷiḍê"/>
              <p:cNvSpPr/>
              <p:nvPr/>
            </p:nvSpPr>
            <p:spPr>
              <a:xfrm>
                <a:off x="5859569" y="3251302"/>
                <a:ext cx="58301" cy="58273"/>
              </a:xfrm>
              <a:custGeom>
                <a:avLst/>
                <a:gdLst>
                  <a:gd name="connsiteX0" fmla="*/ 57204 w 58301"/>
                  <a:gd name="connsiteY0" fmla="*/ 28323 h 58273"/>
                  <a:gd name="connsiteX1" fmla="*/ 28816 w 58301"/>
                  <a:gd name="connsiteY1" fmla="*/ 58199 h 58273"/>
                  <a:gd name="connsiteX2" fmla="*/ -1074 w 58301"/>
                  <a:gd name="connsiteY2" fmla="*/ 29825 h 58273"/>
                  <a:gd name="connsiteX3" fmla="*/ 27312 w 58301"/>
                  <a:gd name="connsiteY3" fmla="*/ -50 h 58273"/>
                  <a:gd name="connsiteX4" fmla="*/ 28215 w 58301"/>
                  <a:gd name="connsiteY4" fmla="*/ -65 h 58273"/>
                  <a:gd name="connsiteX5" fmla="*/ 57204 w 58301"/>
                  <a:gd name="connsiteY5" fmla="*/ 28323 h 58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8301" h="58273">
                    <a:moveTo>
                      <a:pt x="57204" y="28323"/>
                    </a:moveTo>
                    <a:cubicBezTo>
                      <a:pt x="57654" y="44410"/>
                      <a:pt x="44887" y="57793"/>
                      <a:pt x="28816" y="58199"/>
                    </a:cubicBezTo>
                    <a:cubicBezTo>
                      <a:pt x="12743" y="58619"/>
                      <a:pt x="-625" y="45912"/>
                      <a:pt x="-1074" y="29825"/>
                    </a:cubicBezTo>
                    <a:cubicBezTo>
                      <a:pt x="-1525" y="13739"/>
                      <a:pt x="11242" y="356"/>
                      <a:pt x="27312" y="-50"/>
                    </a:cubicBezTo>
                    <a:cubicBezTo>
                      <a:pt x="27613" y="-65"/>
                      <a:pt x="27914" y="-65"/>
                      <a:pt x="28215" y="-65"/>
                    </a:cubicBezTo>
                    <a:cubicBezTo>
                      <a:pt x="43987" y="10"/>
                      <a:pt x="56753" y="12582"/>
                      <a:pt x="57204" y="28323"/>
                    </a:cubicBezTo>
                    <a:close/>
                  </a:path>
                </a:pathLst>
              </a:custGeom>
              <a:solidFill>
                <a:srgbClr val="000000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3" name="îŝļîḋè"/>
              <p:cNvSpPr/>
              <p:nvPr/>
            </p:nvSpPr>
            <p:spPr>
              <a:xfrm>
                <a:off x="5855223" y="3246044"/>
                <a:ext cx="66990" cy="66990"/>
              </a:xfrm>
              <a:custGeom>
                <a:avLst/>
                <a:gdLst>
                  <a:gd name="connsiteX0" fmla="*/ 32561 w 66990"/>
                  <a:gd name="connsiteY0" fmla="*/ 66926 h 66990"/>
                  <a:gd name="connsiteX1" fmla="*/ -1085 w 66990"/>
                  <a:gd name="connsiteY1" fmla="*/ 33581 h 66990"/>
                  <a:gd name="connsiteX2" fmla="*/ 32260 w 66990"/>
                  <a:gd name="connsiteY2" fmla="*/ -65 h 66990"/>
                  <a:gd name="connsiteX3" fmla="*/ 65905 w 66990"/>
                  <a:gd name="connsiteY3" fmla="*/ 33280 h 66990"/>
                  <a:gd name="connsiteX4" fmla="*/ 65905 w 66990"/>
                  <a:gd name="connsiteY4" fmla="*/ 33581 h 66990"/>
                  <a:gd name="connsiteX5" fmla="*/ 32561 w 66990"/>
                  <a:gd name="connsiteY5" fmla="*/ 66926 h 66990"/>
                  <a:gd name="connsiteX6" fmla="*/ 32561 w 66990"/>
                  <a:gd name="connsiteY6" fmla="*/ 8798 h 66990"/>
                  <a:gd name="connsiteX7" fmla="*/ 7777 w 66990"/>
                  <a:gd name="connsiteY7" fmla="*/ 33581 h 66990"/>
                  <a:gd name="connsiteX8" fmla="*/ 32561 w 66990"/>
                  <a:gd name="connsiteY8" fmla="*/ 58364 h 66990"/>
                  <a:gd name="connsiteX9" fmla="*/ 57344 w 66990"/>
                  <a:gd name="connsiteY9" fmla="*/ 33581 h 66990"/>
                  <a:gd name="connsiteX10" fmla="*/ 32861 w 66990"/>
                  <a:gd name="connsiteY10" fmla="*/ 8798 h 66990"/>
                  <a:gd name="connsiteX11" fmla="*/ 32561 w 66990"/>
                  <a:gd name="connsiteY11" fmla="*/ 8798 h 66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6990" h="66990">
                    <a:moveTo>
                      <a:pt x="32561" y="66926"/>
                    </a:moveTo>
                    <a:cubicBezTo>
                      <a:pt x="14086" y="67016"/>
                      <a:pt x="-934" y="52086"/>
                      <a:pt x="-1085" y="33581"/>
                    </a:cubicBezTo>
                    <a:cubicBezTo>
                      <a:pt x="-1235" y="15076"/>
                      <a:pt x="13785" y="26"/>
                      <a:pt x="32260" y="-65"/>
                    </a:cubicBezTo>
                    <a:cubicBezTo>
                      <a:pt x="50734" y="-139"/>
                      <a:pt x="65755" y="14776"/>
                      <a:pt x="65905" y="33280"/>
                    </a:cubicBezTo>
                    <a:cubicBezTo>
                      <a:pt x="65905" y="33386"/>
                      <a:pt x="65905" y="33476"/>
                      <a:pt x="65905" y="33581"/>
                    </a:cubicBezTo>
                    <a:cubicBezTo>
                      <a:pt x="65755" y="51966"/>
                      <a:pt x="50885" y="66851"/>
                      <a:pt x="32561" y="66926"/>
                    </a:cubicBezTo>
                    <a:close/>
                    <a:moveTo>
                      <a:pt x="32561" y="8798"/>
                    </a:moveTo>
                    <a:cubicBezTo>
                      <a:pt x="18892" y="8798"/>
                      <a:pt x="7777" y="19897"/>
                      <a:pt x="7777" y="33581"/>
                    </a:cubicBezTo>
                    <a:cubicBezTo>
                      <a:pt x="7777" y="47264"/>
                      <a:pt x="18892" y="58364"/>
                      <a:pt x="32561" y="58364"/>
                    </a:cubicBezTo>
                    <a:cubicBezTo>
                      <a:pt x="46229" y="58364"/>
                      <a:pt x="57344" y="47264"/>
                      <a:pt x="57344" y="33581"/>
                    </a:cubicBezTo>
                    <a:cubicBezTo>
                      <a:pt x="57495" y="19972"/>
                      <a:pt x="46530" y="8888"/>
                      <a:pt x="32861" y="8798"/>
                    </a:cubicBezTo>
                    <a:cubicBezTo>
                      <a:pt x="32711" y="8798"/>
                      <a:pt x="32711" y="8798"/>
                      <a:pt x="32561" y="8798"/>
                    </a:cubicBezTo>
                    <a:close/>
                  </a:path>
                </a:pathLst>
              </a:custGeom>
              <a:solidFill>
                <a:srgbClr val="FFFFFF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44" name="îṩļiḓè"/>
              <p:cNvGrpSpPr/>
              <p:nvPr/>
            </p:nvGrpSpPr>
            <p:grpSpPr>
              <a:xfrm>
                <a:off x="5982239" y="1592801"/>
                <a:ext cx="133982" cy="195830"/>
                <a:chOff x="5982239" y="1592801"/>
                <a:chExt cx="133982" cy="195830"/>
              </a:xfrm>
              <a:solidFill>
                <a:srgbClr val="000000"/>
              </a:solidFill>
            </p:grpSpPr>
            <p:sp>
              <p:nvSpPr>
                <p:cNvPr id="157" name="íṡlîḑê"/>
                <p:cNvSpPr/>
                <p:nvPr/>
              </p:nvSpPr>
              <p:spPr>
                <a:xfrm>
                  <a:off x="6042668" y="1608250"/>
                  <a:ext cx="73553" cy="180382"/>
                </a:xfrm>
                <a:custGeom>
                  <a:avLst/>
                  <a:gdLst>
                    <a:gd name="connsiteX0" fmla="*/ 9435 w 73553"/>
                    <a:gd name="connsiteY0" fmla="*/ 180170 h 180382"/>
                    <a:gd name="connsiteX1" fmla="*/ 3429 w 73553"/>
                    <a:gd name="connsiteY1" fmla="*/ 180170 h 180382"/>
                    <a:gd name="connsiteX2" fmla="*/ -1078 w 73553"/>
                    <a:gd name="connsiteY2" fmla="*/ 175063 h 180382"/>
                    <a:gd name="connsiteX3" fmla="*/ 4028 w 73553"/>
                    <a:gd name="connsiteY3" fmla="*/ 170557 h 180382"/>
                    <a:gd name="connsiteX4" fmla="*/ 4028 w 73553"/>
                    <a:gd name="connsiteY4" fmla="*/ 170557 h 180382"/>
                    <a:gd name="connsiteX5" fmla="*/ 51042 w 73553"/>
                    <a:gd name="connsiteY5" fmla="*/ 152533 h 180382"/>
                    <a:gd name="connsiteX6" fmla="*/ 42180 w 73553"/>
                    <a:gd name="connsiteY6" fmla="*/ 6537 h 180382"/>
                    <a:gd name="connsiteX7" fmla="*/ 45035 w 73553"/>
                    <a:gd name="connsiteY7" fmla="*/ 228 h 180382"/>
                    <a:gd name="connsiteX8" fmla="*/ 51192 w 73553"/>
                    <a:gd name="connsiteY8" fmla="*/ 3082 h 180382"/>
                    <a:gd name="connsiteX9" fmla="*/ 67864 w 73553"/>
                    <a:gd name="connsiteY9" fmla="*/ 62262 h 180382"/>
                    <a:gd name="connsiteX10" fmla="*/ 58702 w 73553"/>
                    <a:gd name="connsiteY10" fmla="*/ 158241 h 180382"/>
                    <a:gd name="connsiteX11" fmla="*/ 9435 w 73553"/>
                    <a:gd name="connsiteY11" fmla="*/ 180170 h 1803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73553" h="180382">
                      <a:moveTo>
                        <a:pt x="9435" y="180170"/>
                      </a:moveTo>
                      <a:lnTo>
                        <a:pt x="3429" y="180170"/>
                      </a:lnTo>
                      <a:cubicBezTo>
                        <a:pt x="875" y="179930"/>
                        <a:pt x="-1228" y="177692"/>
                        <a:pt x="-1078" y="175063"/>
                      </a:cubicBezTo>
                      <a:cubicBezTo>
                        <a:pt x="-928" y="172420"/>
                        <a:pt x="1326" y="170392"/>
                        <a:pt x="4028" y="170557"/>
                      </a:cubicBezTo>
                      <a:cubicBezTo>
                        <a:pt x="4028" y="170557"/>
                        <a:pt x="4028" y="170557"/>
                        <a:pt x="4028" y="170557"/>
                      </a:cubicBezTo>
                      <a:cubicBezTo>
                        <a:pt x="21753" y="173321"/>
                        <a:pt x="39626" y="166457"/>
                        <a:pt x="51042" y="152533"/>
                      </a:cubicBezTo>
                      <a:cubicBezTo>
                        <a:pt x="81082" y="110176"/>
                        <a:pt x="42631" y="7588"/>
                        <a:pt x="42180" y="6537"/>
                      </a:cubicBezTo>
                      <a:cubicBezTo>
                        <a:pt x="41280" y="4007"/>
                        <a:pt x="42481" y="1207"/>
                        <a:pt x="45035" y="228"/>
                      </a:cubicBezTo>
                      <a:cubicBezTo>
                        <a:pt x="47587" y="-681"/>
                        <a:pt x="50292" y="596"/>
                        <a:pt x="51192" y="3082"/>
                      </a:cubicBezTo>
                      <a:cubicBezTo>
                        <a:pt x="58401" y="22306"/>
                        <a:pt x="63959" y="42103"/>
                        <a:pt x="67864" y="62262"/>
                      </a:cubicBezTo>
                      <a:cubicBezTo>
                        <a:pt x="76276" y="106120"/>
                        <a:pt x="73123" y="138414"/>
                        <a:pt x="58702" y="158241"/>
                      </a:cubicBezTo>
                      <a:cubicBezTo>
                        <a:pt x="46986" y="173321"/>
                        <a:pt x="28511" y="181537"/>
                        <a:pt x="9435" y="18017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1502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8" name="išḻíḓè"/>
                <p:cNvSpPr/>
                <p:nvPr/>
              </p:nvSpPr>
              <p:spPr>
                <a:xfrm>
                  <a:off x="5982239" y="1592801"/>
                  <a:ext cx="123080" cy="167310"/>
                </a:xfrm>
                <a:custGeom>
                  <a:avLst/>
                  <a:gdLst>
                    <a:gd name="connsiteX0" fmla="*/ 117179 w 123080"/>
                    <a:gd name="connsiteY0" fmla="*/ 167080 h 167310"/>
                    <a:gd name="connsiteX1" fmla="*/ 115828 w 123080"/>
                    <a:gd name="connsiteY1" fmla="*/ 167080 h 167310"/>
                    <a:gd name="connsiteX2" fmla="*/ 31114 w 123080"/>
                    <a:gd name="connsiteY2" fmla="*/ 81315 h 167310"/>
                    <a:gd name="connsiteX3" fmla="*/ -879 w 123080"/>
                    <a:gd name="connsiteY3" fmla="*/ 6214 h 167310"/>
                    <a:gd name="connsiteX4" fmla="*/ 2274 w 123080"/>
                    <a:gd name="connsiteY4" fmla="*/ 206 h 167310"/>
                    <a:gd name="connsiteX5" fmla="*/ 8283 w 123080"/>
                    <a:gd name="connsiteY5" fmla="*/ 3031 h 167310"/>
                    <a:gd name="connsiteX6" fmla="*/ 8283 w 123080"/>
                    <a:gd name="connsiteY6" fmla="*/ 3210 h 167310"/>
                    <a:gd name="connsiteX7" fmla="*/ 117480 w 123080"/>
                    <a:gd name="connsiteY7" fmla="*/ 157618 h 167310"/>
                    <a:gd name="connsiteX8" fmla="*/ 121987 w 123080"/>
                    <a:gd name="connsiteY8" fmla="*/ 162800 h 167310"/>
                    <a:gd name="connsiteX9" fmla="*/ 116730 w 123080"/>
                    <a:gd name="connsiteY9" fmla="*/ 167231 h 1673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23080" h="167310">
                      <a:moveTo>
                        <a:pt x="117179" y="167080"/>
                      </a:moveTo>
                      <a:lnTo>
                        <a:pt x="115828" y="167080"/>
                      </a:lnTo>
                      <a:cubicBezTo>
                        <a:pt x="86838" y="161974"/>
                        <a:pt x="58301" y="133135"/>
                        <a:pt x="31114" y="81315"/>
                      </a:cubicBezTo>
                      <a:cubicBezTo>
                        <a:pt x="18497" y="57131"/>
                        <a:pt x="7833" y="32025"/>
                        <a:pt x="-879" y="6214"/>
                      </a:cubicBezTo>
                      <a:cubicBezTo>
                        <a:pt x="-1629" y="3685"/>
                        <a:pt x="-278" y="998"/>
                        <a:pt x="2274" y="206"/>
                      </a:cubicBezTo>
                      <a:cubicBezTo>
                        <a:pt x="4678" y="-656"/>
                        <a:pt x="7382" y="609"/>
                        <a:pt x="8283" y="3031"/>
                      </a:cubicBezTo>
                      <a:cubicBezTo>
                        <a:pt x="8283" y="3090"/>
                        <a:pt x="8283" y="3150"/>
                        <a:pt x="8283" y="3210"/>
                      </a:cubicBezTo>
                      <a:cubicBezTo>
                        <a:pt x="8283" y="4712"/>
                        <a:pt x="54845" y="146503"/>
                        <a:pt x="117480" y="157618"/>
                      </a:cubicBezTo>
                      <a:cubicBezTo>
                        <a:pt x="120184" y="157828"/>
                        <a:pt x="122137" y="160141"/>
                        <a:pt x="121987" y="162800"/>
                      </a:cubicBezTo>
                      <a:cubicBezTo>
                        <a:pt x="121686" y="165458"/>
                        <a:pt x="119432" y="167441"/>
                        <a:pt x="116730" y="167231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1502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45" name="iṧ1ïḓè"/>
              <p:cNvGrpSpPr/>
              <p:nvPr/>
            </p:nvGrpSpPr>
            <p:grpSpPr>
              <a:xfrm>
                <a:off x="5237737" y="2372934"/>
                <a:ext cx="1237313" cy="591481"/>
                <a:chOff x="5237737" y="2372934"/>
                <a:chExt cx="1237313" cy="591481"/>
              </a:xfrm>
              <a:solidFill>
                <a:srgbClr val="000000"/>
              </a:solidFill>
            </p:grpSpPr>
            <p:sp>
              <p:nvSpPr>
                <p:cNvPr id="153" name="íślïḋe"/>
                <p:cNvSpPr/>
                <p:nvPr/>
              </p:nvSpPr>
              <p:spPr>
                <a:xfrm>
                  <a:off x="6291982" y="2372934"/>
                  <a:ext cx="183068" cy="436774"/>
                </a:xfrm>
                <a:custGeom>
                  <a:avLst/>
                  <a:gdLst>
                    <a:gd name="connsiteX0" fmla="*/ 3600 w 183068"/>
                    <a:gd name="connsiteY0" fmla="*/ 436709 h 436774"/>
                    <a:gd name="connsiteX1" fmla="*/ 3600 w 183068"/>
                    <a:gd name="connsiteY1" fmla="*/ 436709 h 436774"/>
                    <a:gd name="connsiteX2" fmla="*/ -1057 w 183068"/>
                    <a:gd name="connsiteY2" fmla="*/ 431197 h 436774"/>
                    <a:gd name="connsiteX3" fmla="*/ -1057 w 183068"/>
                    <a:gd name="connsiteY3" fmla="*/ 431152 h 436774"/>
                    <a:gd name="connsiteX4" fmla="*/ 31387 w 183068"/>
                    <a:gd name="connsiteY4" fmla="*/ 262475 h 436774"/>
                    <a:gd name="connsiteX5" fmla="*/ 173478 w 183068"/>
                    <a:gd name="connsiteY5" fmla="*/ 1123 h 436774"/>
                    <a:gd name="connsiteX6" fmla="*/ 180687 w 183068"/>
                    <a:gd name="connsiteY6" fmla="*/ 1799 h 436774"/>
                    <a:gd name="connsiteX7" fmla="*/ 180087 w 183068"/>
                    <a:gd name="connsiteY7" fmla="*/ 9084 h 436774"/>
                    <a:gd name="connsiteX8" fmla="*/ 41451 w 183068"/>
                    <a:gd name="connsiteY8" fmla="*/ 264428 h 436774"/>
                    <a:gd name="connsiteX9" fmla="*/ 8857 w 183068"/>
                    <a:gd name="connsiteY9" fmla="*/ 432053 h 436774"/>
                    <a:gd name="connsiteX10" fmla="*/ 3600 w 183068"/>
                    <a:gd name="connsiteY10" fmla="*/ 436709 h 4367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83068" h="436774">
                      <a:moveTo>
                        <a:pt x="3600" y="436709"/>
                      </a:moveTo>
                      <a:lnTo>
                        <a:pt x="3600" y="436709"/>
                      </a:lnTo>
                      <a:cubicBezTo>
                        <a:pt x="745" y="436469"/>
                        <a:pt x="-1358" y="434006"/>
                        <a:pt x="-1057" y="431197"/>
                      </a:cubicBezTo>
                      <a:cubicBezTo>
                        <a:pt x="-1057" y="431182"/>
                        <a:pt x="-1057" y="431167"/>
                        <a:pt x="-1057" y="431152"/>
                      </a:cubicBezTo>
                      <a:cubicBezTo>
                        <a:pt x="5553" y="374195"/>
                        <a:pt x="16367" y="317809"/>
                        <a:pt x="31387" y="262475"/>
                      </a:cubicBezTo>
                      <a:cubicBezTo>
                        <a:pt x="54820" y="178061"/>
                        <a:pt x="98377" y="64208"/>
                        <a:pt x="173478" y="1123"/>
                      </a:cubicBezTo>
                      <a:cubicBezTo>
                        <a:pt x="175731" y="-694"/>
                        <a:pt x="178885" y="-394"/>
                        <a:pt x="180687" y="1799"/>
                      </a:cubicBezTo>
                      <a:cubicBezTo>
                        <a:pt x="182640" y="3992"/>
                        <a:pt x="182341" y="7252"/>
                        <a:pt x="180087" y="9084"/>
                      </a:cubicBezTo>
                      <a:cubicBezTo>
                        <a:pt x="107089" y="70367"/>
                        <a:pt x="64431" y="182117"/>
                        <a:pt x="41451" y="264428"/>
                      </a:cubicBezTo>
                      <a:cubicBezTo>
                        <a:pt x="26281" y="319386"/>
                        <a:pt x="15465" y="375427"/>
                        <a:pt x="8857" y="432053"/>
                      </a:cubicBezTo>
                      <a:cubicBezTo>
                        <a:pt x="8556" y="434727"/>
                        <a:pt x="6303" y="436724"/>
                        <a:pt x="3600" y="436709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1502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4" name="îsľîḑê"/>
                <p:cNvSpPr/>
                <p:nvPr/>
              </p:nvSpPr>
              <p:spPr>
                <a:xfrm>
                  <a:off x="5391736" y="2406165"/>
                  <a:ext cx="64660" cy="306061"/>
                </a:xfrm>
                <a:custGeom>
                  <a:avLst/>
                  <a:gdLst>
                    <a:gd name="connsiteX0" fmla="*/ 58359 w 64660"/>
                    <a:gd name="connsiteY0" fmla="*/ 305997 h 306061"/>
                    <a:gd name="connsiteX1" fmla="*/ 53253 w 64660"/>
                    <a:gd name="connsiteY1" fmla="*/ 301792 h 306061"/>
                    <a:gd name="connsiteX2" fmla="*/ -970 w 64660"/>
                    <a:gd name="connsiteY2" fmla="*/ 6044 h 306061"/>
                    <a:gd name="connsiteX3" fmla="*/ 3086 w 64660"/>
                    <a:gd name="connsiteY3" fmla="*/ 36 h 306061"/>
                    <a:gd name="connsiteX4" fmla="*/ 3086 w 64660"/>
                    <a:gd name="connsiteY4" fmla="*/ 36 h 306061"/>
                    <a:gd name="connsiteX5" fmla="*/ 9243 w 64660"/>
                    <a:gd name="connsiteY5" fmla="*/ 4091 h 306061"/>
                    <a:gd name="connsiteX6" fmla="*/ 63465 w 64660"/>
                    <a:gd name="connsiteY6" fmla="*/ 299839 h 306061"/>
                    <a:gd name="connsiteX7" fmla="*/ 59411 w 64660"/>
                    <a:gd name="connsiteY7" fmla="*/ 305817 h 306061"/>
                    <a:gd name="connsiteX8" fmla="*/ 59261 w 64660"/>
                    <a:gd name="connsiteY8" fmla="*/ 305847 h 306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64660" h="306061">
                      <a:moveTo>
                        <a:pt x="58359" y="305997"/>
                      </a:moveTo>
                      <a:cubicBezTo>
                        <a:pt x="55805" y="305982"/>
                        <a:pt x="53704" y="304225"/>
                        <a:pt x="53253" y="301792"/>
                      </a:cubicBezTo>
                      <a:lnTo>
                        <a:pt x="-970" y="6044"/>
                      </a:lnTo>
                      <a:cubicBezTo>
                        <a:pt x="-1571" y="3280"/>
                        <a:pt x="231" y="591"/>
                        <a:pt x="3086" y="36"/>
                      </a:cubicBezTo>
                      <a:cubicBezTo>
                        <a:pt x="3086" y="36"/>
                        <a:pt x="3086" y="36"/>
                        <a:pt x="3086" y="36"/>
                      </a:cubicBezTo>
                      <a:cubicBezTo>
                        <a:pt x="5939" y="-520"/>
                        <a:pt x="8643" y="1282"/>
                        <a:pt x="9243" y="4091"/>
                      </a:cubicBezTo>
                      <a:lnTo>
                        <a:pt x="63465" y="299839"/>
                      </a:lnTo>
                      <a:cubicBezTo>
                        <a:pt x="64067" y="302603"/>
                        <a:pt x="62114" y="305291"/>
                        <a:pt x="59411" y="305817"/>
                      </a:cubicBezTo>
                      <a:cubicBezTo>
                        <a:pt x="59411" y="305832"/>
                        <a:pt x="59261" y="305832"/>
                        <a:pt x="59261" y="305847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1502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5" name="íŝļídé"/>
                <p:cNvSpPr/>
                <p:nvPr/>
              </p:nvSpPr>
              <p:spPr>
                <a:xfrm>
                  <a:off x="5237737" y="2543541"/>
                  <a:ext cx="25390" cy="420874"/>
                </a:xfrm>
                <a:custGeom>
                  <a:avLst/>
                  <a:gdLst>
                    <a:gd name="connsiteX0" fmla="*/ 19198 w 25390"/>
                    <a:gd name="connsiteY0" fmla="*/ 420810 h 420874"/>
                    <a:gd name="connsiteX1" fmla="*/ 13942 w 25390"/>
                    <a:gd name="connsiteY1" fmla="*/ 415854 h 420874"/>
                    <a:gd name="connsiteX2" fmla="*/ -1079 w 25390"/>
                    <a:gd name="connsiteY2" fmla="*/ 5351 h 420874"/>
                    <a:gd name="connsiteX3" fmla="*/ 3877 w 25390"/>
                    <a:gd name="connsiteY3" fmla="*/ -56 h 420874"/>
                    <a:gd name="connsiteX4" fmla="*/ 9285 w 25390"/>
                    <a:gd name="connsiteY4" fmla="*/ 4736 h 420874"/>
                    <a:gd name="connsiteX5" fmla="*/ 9285 w 25390"/>
                    <a:gd name="connsiteY5" fmla="*/ 4901 h 420874"/>
                    <a:gd name="connsiteX6" fmla="*/ 24305 w 25390"/>
                    <a:gd name="connsiteY6" fmla="*/ 415553 h 420874"/>
                    <a:gd name="connsiteX7" fmla="*/ 19198 w 25390"/>
                    <a:gd name="connsiteY7" fmla="*/ 420810 h 4208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390" h="420874">
                      <a:moveTo>
                        <a:pt x="19198" y="420810"/>
                      </a:moveTo>
                      <a:cubicBezTo>
                        <a:pt x="16345" y="420810"/>
                        <a:pt x="14092" y="418632"/>
                        <a:pt x="13942" y="415854"/>
                      </a:cubicBezTo>
                      <a:lnTo>
                        <a:pt x="-1079" y="5351"/>
                      </a:lnTo>
                      <a:cubicBezTo>
                        <a:pt x="-1229" y="2498"/>
                        <a:pt x="1024" y="109"/>
                        <a:pt x="3877" y="-56"/>
                      </a:cubicBezTo>
                      <a:cubicBezTo>
                        <a:pt x="6732" y="-221"/>
                        <a:pt x="9134" y="1927"/>
                        <a:pt x="9285" y="4736"/>
                      </a:cubicBezTo>
                      <a:cubicBezTo>
                        <a:pt x="9285" y="4796"/>
                        <a:pt x="9285" y="4841"/>
                        <a:pt x="9285" y="4901"/>
                      </a:cubicBezTo>
                      <a:lnTo>
                        <a:pt x="24305" y="415553"/>
                      </a:lnTo>
                      <a:cubicBezTo>
                        <a:pt x="24305" y="418392"/>
                        <a:pt x="22051" y="420735"/>
                        <a:pt x="19198" y="42081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1502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6" name="íşḻïdé"/>
                <p:cNvSpPr/>
                <p:nvPr/>
              </p:nvSpPr>
              <p:spPr>
                <a:xfrm>
                  <a:off x="5248668" y="2849301"/>
                  <a:ext cx="68120" cy="93185"/>
                </a:xfrm>
                <a:custGeom>
                  <a:avLst/>
                  <a:gdLst>
                    <a:gd name="connsiteX0" fmla="*/ 61888 w 68120"/>
                    <a:gd name="connsiteY0" fmla="*/ 93121 h 93185"/>
                    <a:gd name="connsiteX1" fmla="*/ 57534 w 68120"/>
                    <a:gd name="connsiteY1" fmla="*/ 91018 h 93185"/>
                    <a:gd name="connsiteX2" fmla="*/ -145 w 68120"/>
                    <a:gd name="connsiteY2" fmla="*/ 8106 h 93185"/>
                    <a:gd name="connsiteX3" fmla="*/ 1057 w 68120"/>
                    <a:gd name="connsiteY3" fmla="*/ 897 h 93185"/>
                    <a:gd name="connsiteX4" fmla="*/ 8267 w 68120"/>
                    <a:gd name="connsiteY4" fmla="*/ 2098 h 93185"/>
                    <a:gd name="connsiteX5" fmla="*/ 66094 w 68120"/>
                    <a:gd name="connsiteY5" fmla="*/ 85010 h 93185"/>
                    <a:gd name="connsiteX6" fmla="*/ 64893 w 68120"/>
                    <a:gd name="connsiteY6" fmla="*/ 92129 h 93185"/>
                    <a:gd name="connsiteX7" fmla="*/ 64743 w 68120"/>
                    <a:gd name="connsiteY7" fmla="*/ 92220 h 93185"/>
                    <a:gd name="connsiteX8" fmla="*/ 61888 w 68120"/>
                    <a:gd name="connsiteY8" fmla="*/ 93121 h 931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68120" h="93185">
                      <a:moveTo>
                        <a:pt x="61888" y="93121"/>
                      </a:moveTo>
                      <a:cubicBezTo>
                        <a:pt x="60236" y="93121"/>
                        <a:pt x="58584" y="92340"/>
                        <a:pt x="57534" y="91018"/>
                      </a:cubicBezTo>
                      <a:lnTo>
                        <a:pt x="-145" y="8106"/>
                      </a:lnTo>
                      <a:cubicBezTo>
                        <a:pt x="-1797" y="5778"/>
                        <a:pt x="-1196" y="2549"/>
                        <a:pt x="1057" y="897"/>
                      </a:cubicBezTo>
                      <a:cubicBezTo>
                        <a:pt x="3311" y="-755"/>
                        <a:pt x="6615" y="-230"/>
                        <a:pt x="8267" y="2098"/>
                      </a:cubicBezTo>
                      <a:lnTo>
                        <a:pt x="66094" y="85010"/>
                      </a:lnTo>
                      <a:cubicBezTo>
                        <a:pt x="67746" y="87308"/>
                        <a:pt x="67147" y="90492"/>
                        <a:pt x="64893" y="92129"/>
                      </a:cubicBezTo>
                      <a:cubicBezTo>
                        <a:pt x="64893" y="92160"/>
                        <a:pt x="64743" y="92190"/>
                        <a:pt x="64743" y="92220"/>
                      </a:cubicBezTo>
                      <a:cubicBezTo>
                        <a:pt x="63841" y="92790"/>
                        <a:pt x="62941" y="93106"/>
                        <a:pt x="61888" y="93121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1502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46" name="ï$ḻiḍè"/>
              <p:cNvSpPr/>
              <p:nvPr/>
            </p:nvSpPr>
            <p:spPr>
              <a:xfrm>
                <a:off x="5030615" y="2343331"/>
                <a:ext cx="168075" cy="45511"/>
              </a:xfrm>
              <a:custGeom>
                <a:avLst/>
                <a:gdLst>
                  <a:gd name="connsiteX0" fmla="*/ 168076 w 168075"/>
                  <a:gd name="connsiteY0" fmla="*/ 23582 h 45511"/>
                  <a:gd name="connsiteX1" fmla="*/ 168076 w 168075"/>
                  <a:gd name="connsiteY1" fmla="*/ 0 h 45511"/>
                  <a:gd name="connsiteX2" fmla="*/ 601 w 168075"/>
                  <a:gd name="connsiteY2" fmla="*/ 9613 h 45511"/>
                  <a:gd name="connsiteX3" fmla="*/ 0 w 168075"/>
                  <a:gd name="connsiteY3" fmla="*/ 45511 h 45511"/>
                  <a:gd name="connsiteX4" fmla="*/ 168076 w 168075"/>
                  <a:gd name="connsiteY4" fmla="*/ 23582 h 45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8075" h="45511">
                    <a:moveTo>
                      <a:pt x="168076" y="23582"/>
                    </a:moveTo>
                    <a:lnTo>
                      <a:pt x="168076" y="0"/>
                    </a:lnTo>
                    <a:lnTo>
                      <a:pt x="601" y="9613"/>
                    </a:lnTo>
                    <a:lnTo>
                      <a:pt x="0" y="45511"/>
                    </a:lnTo>
                    <a:lnTo>
                      <a:pt x="168076" y="23582"/>
                    </a:lnTo>
                    <a:close/>
                  </a:path>
                </a:pathLst>
              </a:custGeom>
              <a:solidFill>
                <a:srgbClr val="000000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7" name="íŝḷíḑè"/>
              <p:cNvSpPr/>
              <p:nvPr/>
            </p:nvSpPr>
            <p:spPr>
              <a:xfrm>
                <a:off x="4441824" y="1130300"/>
                <a:ext cx="1070489" cy="404795"/>
              </a:xfrm>
              <a:custGeom>
                <a:avLst/>
                <a:gdLst>
                  <a:gd name="connsiteX0" fmla="*/ 998357 w 1070489"/>
                  <a:gd name="connsiteY0" fmla="*/ 404730 h 404795"/>
                  <a:gd name="connsiteX1" fmla="*/ 1001513 w 1070489"/>
                  <a:gd name="connsiteY1" fmla="*/ 403828 h 404795"/>
                  <a:gd name="connsiteX2" fmla="*/ 1003914 w 1070489"/>
                  <a:gd name="connsiteY2" fmla="*/ 397971 h 404795"/>
                  <a:gd name="connsiteX3" fmla="*/ 987393 w 1070489"/>
                  <a:gd name="connsiteY3" fmla="*/ 315209 h 404795"/>
                  <a:gd name="connsiteX4" fmla="*/ 1069404 w 1070489"/>
                  <a:gd name="connsiteY4" fmla="*/ 226590 h 404795"/>
                  <a:gd name="connsiteX5" fmla="*/ 1069404 w 1070489"/>
                  <a:gd name="connsiteY5" fmla="*/ 88855 h 404795"/>
                  <a:gd name="connsiteX6" fmla="*/ 980634 w 1070489"/>
                  <a:gd name="connsiteY6" fmla="*/ -65 h 404795"/>
                  <a:gd name="connsiteX7" fmla="*/ 87833 w 1070489"/>
                  <a:gd name="connsiteY7" fmla="*/ -65 h 404795"/>
                  <a:gd name="connsiteX8" fmla="*/ -1086 w 1070489"/>
                  <a:gd name="connsiteY8" fmla="*/ 88855 h 404795"/>
                  <a:gd name="connsiteX9" fmla="*/ -1086 w 1070489"/>
                  <a:gd name="connsiteY9" fmla="*/ 226590 h 404795"/>
                  <a:gd name="connsiteX10" fmla="*/ 87833 w 1070489"/>
                  <a:gd name="connsiteY10" fmla="*/ 315359 h 404795"/>
                  <a:gd name="connsiteX11" fmla="*/ 872189 w 1070489"/>
                  <a:gd name="connsiteY11" fmla="*/ 315359 h 404795"/>
                  <a:gd name="connsiteX12" fmla="*/ 995053 w 1070489"/>
                  <a:gd name="connsiteY12" fmla="*/ 403678 h 404795"/>
                  <a:gd name="connsiteX13" fmla="*/ 998357 w 1070489"/>
                  <a:gd name="connsiteY13" fmla="*/ 404730 h 404795"/>
                  <a:gd name="connsiteX14" fmla="*/ 980334 w 1070489"/>
                  <a:gd name="connsiteY14" fmla="*/ 11351 h 404795"/>
                  <a:gd name="connsiteX15" fmla="*/ 1057838 w 1070489"/>
                  <a:gd name="connsiteY15" fmla="*/ 88855 h 404795"/>
                  <a:gd name="connsiteX16" fmla="*/ 1057838 w 1070489"/>
                  <a:gd name="connsiteY16" fmla="*/ 226590 h 404795"/>
                  <a:gd name="connsiteX17" fmla="*/ 980334 w 1070489"/>
                  <a:gd name="connsiteY17" fmla="*/ 303493 h 404795"/>
                  <a:gd name="connsiteX18" fmla="*/ 975827 w 1070489"/>
                  <a:gd name="connsiteY18" fmla="*/ 305446 h 404795"/>
                  <a:gd name="connsiteX19" fmla="*/ 974776 w 1070489"/>
                  <a:gd name="connsiteY19" fmla="*/ 310252 h 404795"/>
                  <a:gd name="connsiteX20" fmla="*/ 989796 w 1070489"/>
                  <a:gd name="connsiteY20" fmla="*/ 385353 h 404795"/>
                  <a:gd name="connsiteX21" fmla="*/ 877145 w 1070489"/>
                  <a:gd name="connsiteY21" fmla="*/ 304395 h 404795"/>
                  <a:gd name="connsiteX22" fmla="*/ 873841 w 1070489"/>
                  <a:gd name="connsiteY22" fmla="*/ 303343 h 404795"/>
                  <a:gd name="connsiteX23" fmla="*/ 87682 w 1070489"/>
                  <a:gd name="connsiteY23" fmla="*/ 303343 h 404795"/>
                  <a:gd name="connsiteX24" fmla="*/ 10179 w 1070489"/>
                  <a:gd name="connsiteY24" fmla="*/ 225839 h 404795"/>
                  <a:gd name="connsiteX25" fmla="*/ 10179 w 1070489"/>
                  <a:gd name="connsiteY25" fmla="*/ 88855 h 404795"/>
                  <a:gd name="connsiteX26" fmla="*/ 87682 w 1070489"/>
                  <a:gd name="connsiteY26" fmla="*/ 11351 h 404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070489" h="404795">
                    <a:moveTo>
                      <a:pt x="998357" y="404730"/>
                    </a:moveTo>
                    <a:cubicBezTo>
                      <a:pt x="999410" y="404713"/>
                      <a:pt x="1000610" y="404402"/>
                      <a:pt x="1001513" y="403828"/>
                    </a:cubicBezTo>
                    <a:cubicBezTo>
                      <a:pt x="1003465" y="402568"/>
                      <a:pt x="1004366" y="400233"/>
                      <a:pt x="1003914" y="397971"/>
                    </a:cubicBezTo>
                    <a:lnTo>
                      <a:pt x="987393" y="315209"/>
                    </a:lnTo>
                    <a:cubicBezTo>
                      <a:pt x="1033656" y="311463"/>
                      <a:pt x="1069254" y="272950"/>
                      <a:pt x="1069404" y="226590"/>
                    </a:cubicBezTo>
                    <a:lnTo>
                      <a:pt x="1069404" y="88855"/>
                    </a:lnTo>
                    <a:cubicBezTo>
                      <a:pt x="1069404" y="39805"/>
                      <a:pt x="1029751" y="18"/>
                      <a:pt x="980634" y="-65"/>
                    </a:cubicBezTo>
                    <a:lnTo>
                      <a:pt x="87833" y="-65"/>
                    </a:lnTo>
                    <a:cubicBezTo>
                      <a:pt x="38718" y="-65"/>
                      <a:pt x="-1086" y="39746"/>
                      <a:pt x="-1086" y="88855"/>
                    </a:cubicBezTo>
                    <a:lnTo>
                      <a:pt x="-1086" y="226590"/>
                    </a:lnTo>
                    <a:cubicBezTo>
                      <a:pt x="-935" y="275640"/>
                      <a:pt x="38718" y="315359"/>
                      <a:pt x="87833" y="315359"/>
                    </a:cubicBezTo>
                    <a:lnTo>
                      <a:pt x="872189" y="315359"/>
                    </a:lnTo>
                    <a:lnTo>
                      <a:pt x="995053" y="403678"/>
                    </a:lnTo>
                    <a:cubicBezTo>
                      <a:pt x="995955" y="404383"/>
                      <a:pt x="997156" y="404751"/>
                      <a:pt x="998357" y="404730"/>
                    </a:cubicBezTo>
                    <a:close/>
                    <a:moveTo>
                      <a:pt x="980334" y="11351"/>
                    </a:moveTo>
                    <a:cubicBezTo>
                      <a:pt x="1023141" y="11433"/>
                      <a:pt x="1057688" y="46085"/>
                      <a:pt x="1057838" y="88855"/>
                    </a:cubicBezTo>
                    <a:lnTo>
                      <a:pt x="1057838" y="226590"/>
                    </a:lnTo>
                    <a:cubicBezTo>
                      <a:pt x="1057387" y="269126"/>
                      <a:pt x="1022840" y="303414"/>
                      <a:pt x="980334" y="303493"/>
                    </a:cubicBezTo>
                    <a:cubicBezTo>
                      <a:pt x="978682" y="303508"/>
                      <a:pt x="977030" y="304213"/>
                      <a:pt x="975827" y="305446"/>
                    </a:cubicBezTo>
                    <a:cubicBezTo>
                      <a:pt x="974776" y="306798"/>
                      <a:pt x="974325" y="308573"/>
                      <a:pt x="974776" y="310252"/>
                    </a:cubicBezTo>
                    <a:lnTo>
                      <a:pt x="989796" y="385353"/>
                    </a:lnTo>
                    <a:lnTo>
                      <a:pt x="877145" y="304395"/>
                    </a:lnTo>
                    <a:cubicBezTo>
                      <a:pt x="876243" y="303669"/>
                      <a:pt x="875042" y="303298"/>
                      <a:pt x="873841" y="303343"/>
                    </a:cubicBezTo>
                    <a:lnTo>
                      <a:pt x="87682" y="303343"/>
                    </a:lnTo>
                    <a:cubicBezTo>
                      <a:pt x="44875" y="303261"/>
                      <a:pt x="10330" y="268609"/>
                      <a:pt x="10179" y="225839"/>
                    </a:cubicBezTo>
                    <a:lnTo>
                      <a:pt x="10179" y="88855"/>
                    </a:lnTo>
                    <a:cubicBezTo>
                      <a:pt x="10179" y="46050"/>
                      <a:pt x="44875" y="11351"/>
                      <a:pt x="87682" y="11351"/>
                    </a:cubicBezTo>
                    <a:close/>
                  </a:path>
                </a:pathLst>
              </a:custGeom>
              <a:solidFill>
                <a:srgbClr val="000000"/>
              </a:solidFill>
              <a:ln w="150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" name="矩形 2"/>
            <p:cNvSpPr/>
            <p:nvPr/>
          </p:nvSpPr>
          <p:spPr>
            <a:xfrm>
              <a:off x="9181854" y="1057394"/>
              <a:ext cx="103105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b="1" dirty="0"/>
                <a:t>ISSUES</a:t>
              </a:r>
              <a:endParaRPr lang="zh-CN" altLang="en-US" b="1" dirty="0"/>
            </a:p>
          </p:txBody>
        </p:sp>
      </p:grpSp>
    </p:spTree>
    <p:custDataLst>
      <p:tags r:id="rId1"/>
    </p:custData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2839406" y="2066528"/>
            <a:ext cx="4811073" cy="7201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3400" b="1" dirty="0">
                <a:latin typeface="+mj-lt"/>
                <a:ea typeface="+mj-ea"/>
              </a:rPr>
              <a:t>做开源，我们是认真的！</a:t>
            </a:r>
            <a:endParaRPr lang="zh-CN" altLang="en-US" sz="3400" b="1" dirty="0">
              <a:latin typeface="+mj-lt"/>
              <a:ea typeface="+mj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79004" y="2144955"/>
            <a:ext cx="1752752" cy="1729890"/>
          </a:xfrm>
          <a:prstGeom prst="rect">
            <a:avLst/>
          </a:prstGeom>
        </p:spPr>
      </p:pic>
      <p:grpSp>
        <p:nvGrpSpPr>
          <p:cNvPr id="6" name="组合 5"/>
          <p:cNvGrpSpPr/>
          <p:nvPr/>
        </p:nvGrpSpPr>
        <p:grpSpPr>
          <a:xfrm>
            <a:off x="2841385" y="2814571"/>
            <a:ext cx="3765155" cy="1185929"/>
            <a:chOff x="2757565" y="2806951"/>
            <a:chExt cx="3765155" cy="1185929"/>
          </a:xfrm>
        </p:grpSpPr>
        <p:sp>
          <p:nvSpPr>
            <p:cNvPr id="11" name="内容占位符 7"/>
            <p:cNvSpPr txBox="1"/>
            <p:nvPr/>
          </p:nvSpPr>
          <p:spPr>
            <a:xfrm>
              <a:off x="3785445" y="3468803"/>
              <a:ext cx="2737275" cy="524077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0" indent="0" algn="l" defTabSz="913765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3765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3765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3765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3765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3765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3765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3765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3765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</a:pPr>
              <a:r>
                <a:rPr lang="en-US" altLang="zh-CN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https://www.ivorysql.org/</a:t>
              </a:r>
              <a:endParaRPr lang="zh-CN" altLang="en-US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pic>
          <p:nvPicPr>
            <p:cNvPr id="13" name="Picture 2"/>
            <p:cNvPicPr>
              <a:picLocks noChangeAspect="1"/>
            </p:cNvPicPr>
            <p:nvPr/>
          </p:nvPicPr>
          <p:blipFill rotWithShape="1">
            <a:blip r:embed="rId7"/>
            <a:srcRect r="68296"/>
            <a:stretch>
              <a:fillRect/>
            </a:stretch>
          </p:blipFill>
          <p:spPr>
            <a:xfrm>
              <a:off x="2757565" y="2806951"/>
              <a:ext cx="1014335" cy="1124970"/>
            </a:xfrm>
            <a:prstGeom prst="rect">
              <a:avLst/>
            </a:prstGeom>
          </p:spPr>
        </p:pic>
        <p:pic>
          <p:nvPicPr>
            <p:cNvPr id="14" name="Picture 2"/>
            <p:cNvPicPr>
              <a:picLocks noChangeAspect="1"/>
            </p:cNvPicPr>
            <p:nvPr/>
          </p:nvPicPr>
          <p:blipFill rotWithShape="1">
            <a:blip r:embed="rId7"/>
            <a:srcRect l="31704" t="35652" b="20997"/>
            <a:stretch>
              <a:fillRect/>
            </a:stretch>
          </p:blipFill>
          <p:spPr>
            <a:xfrm>
              <a:off x="3810000" y="3040379"/>
              <a:ext cx="2185046" cy="487681"/>
            </a:xfrm>
            <a:prstGeom prst="rect">
              <a:avLst/>
            </a:prstGeom>
          </p:spPr>
        </p:pic>
      </p:grpSp>
      <p:pic>
        <p:nvPicPr>
          <p:cNvPr id="15" name="图片 14" descr="瀚高数据库横版-橙黑透明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20330" y="4711700"/>
            <a:ext cx="1825113" cy="698500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本框 16"/>
          <p:cNvSpPr txBox="1"/>
          <p:nvPr/>
        </p:nvSpPr>
        <p:spPr>
          <a:xfrm>
            <a:off x="669923" y="915745"/>
            <a:ext cx="10850565" cy="628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3200" b="1" dirty="0">
                <a:latin typeface="+mj-lt"/>
                <a:ea typeface="+mj-ea"/>
              </a:rPr>
              <a:t>企业简介</a:t>
            </a:r>
            <a:endParaRPr lang="zh-CN" altLang="en-US" sz="3200" b="1" dirty="0">
              <a:latin typeface="+mj-lt"/>
              <a:ea typeface="+mj-ea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7149465" y="1847999"/>
            <a:ext cx="4486275" cy="1753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000" dirty="0">
                <a:solidFill>
                  <a:srgbClr val="828282">
                    <a:lumMod val="75000"/>
                  </a:srgbClr>
                </a:solidFill>
                <a:latin typeface="微软雅黑" panose="020B0503020204020204" pitchFamily="34" charset="-122"/>
                <a:cs typeface="微软雅黑" panose="020B0503020204020204" pitchFamily="34" charset="-122"/>
              </a:rPr>
              <a:t>       </a:t>
            </a:r>
            <a:r>
              <a:rPr lang="zh-CN" altLang="en-US" sz="1200" dirty="0">
                <a:solidFill>
                  <a:srgbClr val="828282">
                    <a:lumMod val="75000"/>
                  </a:srgbClr>
                </a:solidFill>
                <a:latin typeface="微软雅黑" panose="020B0503020204020204" pitchFamily="34" charset="-122"/>
                <a:cs typeface="微软雅黑" panose="020B0503020204020204" pitchFamily="34" charset="-122"/>
              </a:rPr>
              <a:t>作为国产数据库行业头部企业，瀚高秉承“振兴民族基础软件”企业使命，以客户为关注焦点，致力于为政企客户提供有核心竞争力的数据库解决方案。多年来，公司始终坚持安全可控和开放创新并重，加强国际交流合作，保持产品解决方案始终处于行业发展前沿。通过不断完善全维度的产品供应和服务支撑能力，在数字经济时代为客户的成功提供强大源动力。</a:t>
            </a:r>
            <a:endParaRPr lang="zh-CN" altLang="en-US" sz="1200" dirty="0">
              <a:solidFill>
                <a:srgbClr val="828282">
                  <a:lumMod val="75000"/>
                </a:srgbClr>
              </a:solidFill>
              <a:latin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688303" y="4100269"/>
            <a:ext cx="5201510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srgbClr val="828282">
                    <a:lumMod val="75000"/>
                  </a:srgbClr>
                </a:solidFill>
                <a:latin typeface="微软雅黑" panose="020B0503020204020204" pitchFamily="34" charset="-122"/>
              </a:rPr>
              <a:t>营销中心：</a:t>
            </a:r>
            <a:r>
              <a:rPr lang="zh-CN" altLang="en-US" sz="1400" dirty="0">
                <a:solidFill>
                  <a:srgbClr val="828282">
                    <a:lumMod val="75000"/>
                  </a:srgbClr>
                </a:solidFill>
                <a:latin typeface="微软雅黑" panose="020B0503020204020204" pitchFamily="34" charset="-122"/>
              </a:rPr>
              <a:t>北京</a:t>
            </a:r>
            <a:endParaRPr lang="zh-CN" altLang="en-US" sz="1400" dirty="0">
              <a:solidFill>
                <a:srgbClr val="828282">
                  <a:lumMod val="75000"/>
                </a:srgbClr>
              </a:solidFill>
              <a:latin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srgbClr val="828282">
                    <a:lumMod val="75000"/>
                  </a:srgbClr>
                </a:solidFill>
                <a:latin typeface="微软雅黑" panose="020B0503020204020204" pitchFamily="34" charset="-122"/>
                <a:sym typeface="+mn-ea"/>
              </a:rPr>
              <a:t>研发中心：</a:t>
            </a:r>
            <a:r>
              <a:rPr lang="zh-CN" altLang="en-US" sz="1400" dirty="0">
                <a:solidFill>
                  <a:srgbClr val="828282">
                    <a:lumMod val="75000"/>
                  </a:srgbClr>
                </a:solidFill>
                <a:latin typeface="微软雅黑" panose="020B0503020204020204" pitchFamily="34" charset="-122"/>
                <a:sym typeface="+mn-ea"/>
              </a:rPr>
              <a:t>济南、青岛、成都、保定</a:t>
            </a:r>
            <a:endParaRPr lang="zh-CN" altLang="en-US" sz="1400" dirty="0">
              <a:solidFill>
                <a:srgbClr val="828282">
                  <a:lumMod val="75000"/>
                </a:srgbClr>
              </a:solidFill>
              <a:latin typeface="微软雅黑" panose="020B0503020204020204" pitchFamily="34" charset="-122"/>
              <a:sym typeface="+mn-ea"/>
            </a:endParaRPr>
          </a:p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srgbClr val="828282">
                    <a:lumMod val="75000"/>
                  </a:srgbClr>
                </a:solidFill>
                <a:latin typeface="微软雅黑" panose="020B0503020204020204" pitchFamily="34" charset="-122"/>
                <a:sym typeface="+mn-ea"/>
              </a:rPr>
              <a:t>海外研发机构：</a:t>
            </a:r>
            <a:r>
              <a:rPr lang="zh-CN" altLang="en-US" sz="1400" dirty="0">
                <a:solidFill>
                  <a:srgbClr val="828282">
                    <a:lumMod val="75000"/>
                  </a:srgbClr>
                </a:solidFill>
                <a:latin typeface="微软雅黑" panose="020B0503020204020204" pitchFamily="34" charset="-122"/>
                <a:sym typeface="+mn-ea"/>
              </a:rPr>
              <a:t>西雅图、北美研究院、伊斯兰堡</a:t>
            </a:r>
            <a:endParaRPr lang="zh-CN" altLang="en-US" sz="1400" dirty="0">
              <a:solidFill>
                <a:srgbClr val="828282">
                  <a:lumMod val="75000"/>
                </a:srgbClr>
              </a:solidFill>
              <a:latin typeface="微软雅黑" panose="020B0503020204020204" pitchFamily="34" charset="-122"/>
              <a:sym typeface="+mn-ea"/>
            </a:endParaRPr>
          </a:p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srgbClr val="828282">
                    <a:lumMod val="75000"/>
                  </a:srgbClr>
                </a:solidFill>
                <a:latin typeface="微软雅黑" panose="020B0503020204020204" pitchFamily="34" charset="-122"/>
                <a:sym typeface="+mn-ea"/>
              </a:rPr>
              <a:t>运营中心：</a:t>
            </a:r>
            <a:r>
              <a:rPr lang="zh-CN" altLang="en-US" sz="1400" dirty="0">
                <a:solidFill>
                  <a:srgbClr val="828282">
                    <a:lumMod val="75000"/>
                  </a:srgbClr>
                </a:solidFill>
                <a:latin typeface="微软雅黑" panose="020B0503020204020204" pitchFamily="34" charset="-122"/>
                <a:sym typeface="+mn-ea"/>
              </a:rPr>
              <a:t>济南</a:t>
            </a:r>
            <a:endParaRPr lang="zh-CN" altLang="en-US" sz="1400" dirty="0">
              <a:solidFill>
                <a:srgbClr val="828282">
                  <a:lumMod val="75000"/>
                </a:srgbClr>
              </a:solidFill>
              <a:latin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srgbClr val="828282">
                    <a:lumMod val="75000"/>
                  </a:srgbClr>
                </a:solidFill>
                <a:latin typeface="微软雅黑" panose="020B0503020204020204" pitchFamily="34" charset="-122"/>
                <a:sym typeface="+mn-ea"/>
              </a:rPr>
              <a:t>分支机构：</a:t>
            </a:r>
            <a:r>
              <a:rPr lang="zh-CN" altLang="en-US" sz="1400" dirty="0">
                <a:solidFill>
                  <a:srgbClr val="828282">
                    <a:lumMod val="75000"/>
                  </a:srgbClr>
                </a:solidFill>
                <a:latin typeface="微软雅黑" panose="020B0503020204020204" pitchFamily="34" charset="-122"/>
                <a:sym typeface="+mn-ea"/>
              </a:rPr>
              <a:t>上海、南京、广州、福州等</a:t>
            </a:r>
            <a:r>
              <a:rPr lang="en-US" altLang="zh-CN" sz="1400" dirty="0">
                <a:solidFill>
                  <a:srgbClr val="828282">
                    <a:lumMod val="75000"/>
                  </a:srgbClr>
                </a:solidFill>
                <a:latin typeface="微软雅黑" panose="020B0503020204020204" pitchFamily="34" charset="-122"/>
                <a:sym typeface="+mn-ea"/>
              </a:rPr>
              <a:t>10</a:t>
            </a:r>
            <a:r>
              <a:rPr lang="zh-CN" altLang="en-US" sz="1400" dirty="0">
                <a:solidFill>
                  <a:srgbClr val="828282">
                    <a:lumMod val="75000"/>
                  </a:srgbClr>
                </a:solidFill>
                <a:latin typeface="微软雅黑" panose="020B0503020204020204" pitchFamily="34" charset="-122"/>
                <a:sym typeface="+mn-ea"/>
              </a:rPr>
              <a:t>多个地市设立子公司</a:t>
            </a:r>
            <a:endParaRPr lang="zh-CN" altLang="en-US" sz="1400" dirty="0">
              <a:solidFill>
                <a:srgbClr val="828282">
                  <a:lumMod val="75000"/>
                </a:srgbClr>
              </a:solidFill>
              <a:latin typeface="微软雅黑" panose="020B0503020204020204" pitchFamily="34" charset="-122"/>
              <a:sym typeface="+mn-ea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7149465" y="1482090"/>
            <a:ext cx="4034155" cy="321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500" b="1">
                <a:solidFill>
                  <a:srgbClr val="F0F0F0">
                    <a:lumMod val="25000"/>
                  </a:srgbClr>
                </a:solidFill>
                <a:latin typeface="微软雅黑" panose="020B0503020204020204" pitchFamily="34" charset="-122"/>
              </a:rPr>
              <a:t>国内领先的数据综合解决方案提供商</a:t>
            </a:r>
            <a:endParaRPr lang="zh-CN" altLang="en-US" sz="1500" b="1">
              <a:solidFill>
                <a:srgbClr val="F0F0F0">
                  <a:lumMod val="25000"/>
                </a:srgbClr>
              </a:solidFill>
              <a:latin typeface="微软雅黑" panose="020B0503020204020204" pitchFamily="34" charset="-122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7149465" y="4125931"/>
            <a:ext cx="4399280" cy="14619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500" b="1" dirty="0">
                <a:solidFill>
                  <a:srgbClr val="F0F0F0">
                    <a:lumMod val="25000"/>
                  </a:srgbClr>
                </a:solidFill>
                <a:latin typeface="微软雅黑" panose="020B0503020204020204" pitchFamily="34" charset="-122"/>
              </a:rPr>
              <a:t>瀚高使命</a:t>
            </a:r>
            <a:endParaRPr lang="zh-CN" altLang="en-US" sz="1500" b="1" dirty="0">
              <a:solidFill>
                <a:srgbClr val="F0F0F0">
                  <a:lumMod val="25000"/>
                </a:srgbClr>
              </a:solidFill>
              <a:latin typeface="微软雅黑" panose="020B0503020204020204" pitchFamily="34" charset="-122"/>
            </a:endParaRP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zh-CN" altLang="en-US" sz="1300" dirty="0">
                <a:solidFill>
                  <a:srgbClr val="000000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</a:rPr>
              <a:t>振兴民族基础软件</a:t>
            </a:r>
            <a:endParaRPr lang="zh-CN" altLang="en-US" sz="1500" dirty="0">
              <a:solidFill>
                <a:srgbClr val="000000">
                  <a:lumMod val="75000"/>
                  <a:lumOff val="25000"/>
                </a:srgbClr>
              </a:solidFill>
              <a:latin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500" b="1" dirty="0">
                <a:solidFill>
                  <a:srgbClr val="F0F0F0">
                    <a:lumMod val="25000"/>
                  </a:srgbClr>
                </a:solidFill>
                <a:latin typeface="微软雅黑" panose="020B0503020204020204" pitchFamily="34" charset="-122"/>
              </a:rPr>
              <a:t>瀚高愿景</a:t>
            </a:r>
            <a:endParaRPr lang="zh-CN" altLang="en-US" sz="1500" b="1" dirty="0">
              <a:solidFill>
                <a:srgbClr val="F0F0F0">
                  <a:lumMod val="25000"/>
                </a:srgbClr>
              </a:solidFill>
              <a:latin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300" dirty="0">
                <a:solidFill>
                  <a:srgbClr val="000000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</a:rPr>
              <a:t>国际领先的数据综合解决方案提供商（全栈数据库厂商）</a:t>
            </a:r>
            <a:endParaRPr lang="zh-CN" altLang="en-US" sz="1300" dirty="0">
              <a:solidFill>
                <a:srgbClr val="000000">
                  <a:lumMod val="75000"/>
                  <a:lumOff val="25000"/>
                </a:srgbClr>
              </a:solidFill>
              <a:latin typeface="微软雅黑" panose="020B0503020204020204" pitchFamily="34" charset="-122"/>
            </a:endParaRPr>
          </a:p>
        </p:txBody>
      </p:sp>
      <p:cxnSp>
        <p:nvCxnSpPr>
          <p:cNvPr id="14" name="iṣḻïḋe"/>
          <p:cNvCxnSpPr/>
          <p:nvPr/>
        </p:nvCxnSpPr>
        <p:spPr>
          <a:xfrm>
            <a:off x="7225431" y="3869168"/>
            <a:ext cx="637989" cy="0"/>
          </a:xfrm>
          <a:prstGeom prst="line">
            <a:avLst/>
          </a:prstGeom>
          <a:noFill/>
          <a:ln w="76200" cap="rnd" cmpd="sng" algn="ctr">
            <a:gradFill>
              <a:gsLst>
                <a:gs pos="100000">
                  <a:srgbClr val="FFCD04">
                    <a:lumMod val="60000"/>
                    <a:lumOff val="40000"/>
                    <a:alpha val="0"/>
                  </a:srgbClr>
                </a:gs>
                <a:gs pos="20000">
                  <a:srgbClr val="FFCD04"/>
                </a:gs>
              </a:gsLst>
              <a:lin ang="12000000" scaled="0"/>
            </a:gradFill>
            <a:prstDash val="solid"/>
            <a:round/>
          </a:ln>
          <a:effectLst/>
        </p:spPr>
      </p:cxnSp>
      <p:pic>
        <p:nvPicPr>
          <p:cNvPr id="15" name="图片 14" descr="世界地图-01"/>
          <p:cNvPicPr>
            <a:picLocks noChangeAspect="1"/>
          </p:cNvPicPr>
          <p:nvPr/>
        </p:nvPicPr>
        <p:blipFill>
          <a:blip r:embed="rId1"/>
          <a:srcRect l="6110" t="7594" r="7680"/>
          <a:stretch>
            <a:fillRect/>
          </a:stretch>
        </p:blipFill>
        <p:spPr>
          <a:xfrm>
            <a:off x="638736" y="1270339"/>
            <a:ext cx="6371702" cy="3172755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本框 16"/>
          <p:cNvSpPr txBox="1"/>
          <p:nvPr/>
        </p:nvSpPr>
        <p:spPr>
          <a:xfrm>
            <a:off x="669923" y="915745"/>
            <a:ext cx="10850565" cy="628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3200" b="1" dirty="0">
                <a:latin typeface="+mj-lt"/>
                <a:ea typeface="+mj-ea"/>
              </a:rPr>
              <a:t>发展历程</a:t>
            </a:r>
            <a:endParaRPr lang="zh-CN" altLang="en-US" sz="3200" b="1" dirty="0">
              <a:latin typeface="+mj-lt"/>
              <a:ea typeface="+mj-ea"/>
            </a:endParaRPr>
          </a:p>
        </p:txBody>
      </p:sp>
      <p:grpSp>
        <p:nvGrpSpPr>
          <p:cNvPr id="43" name="组合 42" descr="e7d195523061f1c0ae0eb3eed39d2bcef4622b2499a05fe6567B54A876BEB457BD1EB8EBE9915191D1FA2E860D28D251AB291D9CBBDD28D4BD16020FD75D8281481517FC21E86E4C931520AFA1087E92628DF01CF76D9FF16562B9B11D3BE81A74B0F84E999022BAAE6549A7B31BB69A9964FD16A7840915EB71447705FFD97C3213AF10A487EBCB7D577D6F27D576C2"/>
          <p:cNvGrpSpPr/>
          <p:nvPr/>
        </p:nvGrpSpPr>
        <p:grpSpPr>
          <a:xfrm>
            <a:off x="1158240" y="1856743"/>
            <a:ext cx="10362248" cy="3893022"/>
            <a:chOff x="1340989" y="2213615"/>
            <a:chExt cx="9740096" cy="3514348"/>
          </a:xfrm>
        </p:grpSpPr>
        <p:sp>
          <p:nvSpPr>
            <p:cNvPr id="44" name="圆角矩形 1"/>
            <p:cNvSpPr/>
            <p:nvPr/>
          </p:nvSpPr>
          <p:spPr>
            <a:xfrm>
              <a:off x="1709738" y="3630446"/>
              <a:ext cx="8763000" cy="291402"/>
            </a:xfrm>
            <a:prstGeom prst="roundRect">
              <a:avLst>
                <a:gd name="adj" fmla="val 50000"/>
              </a:avLst>
            </a:prstGeom>
            <a:solidFill>
              <a:srgbClr val="000000">
                <a:lumMod val="50000"/>
                <a:lumOff val="50000"/>
                <a:alpha val="1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  <a:alpha val="10000"/>
                  </a:srgbClr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sp>
          <p:nvSpPr>
            <p:cNvPr id="45" name="椭圆 44"/>
            <p:cNvSpPr/>
            <p:nvPr/>
          </p:nvSpPr>
          <p:spPr>
            <a:xfrm>
              <a:off x="1576388" y="2215350"/>
              <a:ext cx="556181" cy="556181"/>
            </a:xfrm>
            <a:prstGeom prst="ellipse">
              <a:avLst/>
            </a:prstGeom>
            <a:solidFill>
              <a:srgbClr val="F3A50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charset="-122"/>
                  <a:ea typeface="等线" panose="02010600030101010101" charset="-122"/>
                  <a:cs typeface="+mn-cs"/>
                </a:rPr>
                <a:t>01</a:t>
              </a:r>
              <a:endParaRPr kumimoji="0" lang="en-US" altLang="zh-CN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sp>
          <p:nvSpPr>
            <p:cNvPr id="46" name="椭圆 45"/>
            <p:cNvSpPr/>
            <p:nvPr/>
          </p:nvSpPr>
          <p:spPr>
            <a:xfrm>
              <a:off x="1745385" y="3667054"/>
              <a:ext cx="218186" cy="218186"/>
            </a:xfrm>
            <a:prstGeom prst="ellipse">
              <a:avLst/>
            </a:prstGeom>
            <a:solidFill>
              <a:srgbClr val="000000">
                <a:lumMod val="50000"/>
                <a:lumOff val="50000"/>
                <a:alpha val="3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cxnSp>
          <p:nvCxnSpPr>
            <p:cNvPr id="47" name="直接连接符 46"/>
            <p:cNvCxnSpPr/>
            <p:nvPr/>
          </p:nvCxnSpPr>
          <p:spPr>
            <a:xfrm>
              <a:off x="1854478" y="2876270"/>
              <a:ext cx="0" cy="609364"/>
            </a:xfrm>
            <a:prstGeom prst="line">
              <a:avLst/>
            </a:prstGeom>
            <a:noFill/>
            <a:ln w="6350" cap="rnd" cmpd="sng" algn="ctr">
              <a:solidFill>
                <a:srgbClr val="000000">
                  <a:alpha val="10000"/>
                </a:srgbClr>
              </a:solidFill>
              <a:prstDash val="solid"/>
              <a:round/>
            </a:ln>
            <a:effectLst/>
          </p:spPr>
        </p:cxnSp>
        <p:sp>
          <p:nvSpPr>
            <p:cNvPr id="48" name="文本框 47"/>
            <p:cNvSpPr txBox="1"/>
            <p:nvPr/>
          </p:nvSpPr>
          <p:spPr>
            <a:xfrm>
              <a:off x="1340989" y="3980681"/>
              <a:ext cx="1272540" cy="3043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</a:rPr>
                <a:t>2005-2008</a:t>
              </a:r>
              <a:endPara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</a:endParaRPr>
            </a:p>
          </p:txBody>
        </p:sp>
        <p:sp>
          <p:nvSpPr>
            <p:cNvPr id="49" name="椭圆 48"/>
            <p:cNvSpPr/>
            <p:nvPr/>
          </p:nvSpPr>
          <p:spPr>
            <a:xfrm>
              <a:off x="3737017" y="4663827"/>
              <a:ext cx="556181" cy="556181"/>
            </a:xfrm>
            <a:prstGeom prst="ellipse">
              <a:avLst/>
            </a:prstGeom>
            <a:solidFill>
              <a:srgbClr val="F3A50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charset="-122"/>
                  <a:ea typeface="等线" panose="02010600030101010101" charset="-122"/>
                  <a:cs typeface="+mn-cs"/>
                </a:rPr>
                <a:t>02</a:t>
              </a:r>
              <a:endParaRPr kumimoji="0" lang="en-US" altLang="zh-CN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sp>
          <p:nvSpPr>
            <p:cNvPr id="50" name="椭圆 49"/>
            <p:cNvSpPr/>
            <p:nvPr/>
          </p:nvSpPr>
          <p:spPr>
            <a:xfrm>
              <a:off x="3906014" y="3667054"/>
              <a:ext cx="218186" cy="218186"/>
            </a:xfrm>
            <a:prstGeom prst="ellipse">
              <a:avLst/>
            </a:prstGeom>
            <a:solidFill>
              <a:srgbClr val="000000">
                <a:lumMod val="50000"/>
                <a:lumOff val="50000"/>
                <a:alpha val="3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cxnSp>
          <p:nvCxnSpPr>
            <p:cNvPr id="51" name="直接连接符 50"/>
            <p:cNvCxnSpPr/>
            <p:nvPr/>
          </p:nvCxnSpPr>
          <p:spPr>
            <a:xfrm>
              <a:off x="4015107" y="4064411"/>
              <a:ext cx="0" cy="504045"/>
            </a:xfrm>
            <a:prstGeom prst="line">
              <a:avLst/>
            </a:prstGeom>
            <a:noFill/>
            <a:ln w="6350" cap="rnd" cmpd="sng" algn="ctr">
              <a:solidFill>
                <a:srgbClr val="000000">
                  <a:alpha val="10000"/>
                </a:srgbClr>
              </a:solidFill>
              <a:prstDash val="solid"/>
              <a:round/>
            </a:ln>
            <a:effectLst/>
          </p:spPr>
        </p:cxnSp>
        <p:sp>
          <p:nvSpPr>
            <p:cNvPr id="52" name="文本框 51"/>
            <p:cNvSpPr txBox="1"/>
            <p:nvPr/>
          </p:nvSpPr>
          <p:spPr>
            <a:xfrm>
              <a:off x="3580847" y="3207749"/>
              <a:ext cx="1272540" cy="3043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</a:rPr>
                <a:t>2009-2012</a:t>
              </a:r>
              <a:endPara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</a:endParaRPr>
            </a:p>
          </p:txBody>
        </p:sp>
        <p:sp>
          <p:nvSpPr>
            <p:cNvPr id="53" name="椭圆 52"/>
            <p:cNvSpPr/>
            <p:nvPr/>
          </p:nvSpPr>
          <p:spPr>
            <a:xfrm>
              <a:off x="5897646" y="2215350"/>
              <a:ext cx="556181" cy="556181"/>
            </a:xfrm>
            <a:prstGeom prst="ellipse">
              <a:avLst/>
            </a:prstGeom>
            <a:solidFill>
              <a:srgbClr val="F3A50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charset="-122"/>
                  <a:ea typeface="等线" panose="02010600030101010101" charset="-122"/>
                  <a:cs typeface="+mn-cs"/>
                </a:rPr>
                <a:t>03</a:t>
              </a:r>
              <a:endPara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sp>
          <p:nvSpPr>
            <p:cNvPr id="54" name="椭圆 53"/>
            <p:cNvSpPr/>
            <p:nvPr/>
          </p:nvSpPr>
          <p:spPr>
            <a:xfrm>
              <a:off x="6066643" y="3667054"/>
              <a:ext cx="218186" cy="218186"/>
            </a:xfrm>
            <a:prstGeom prst="ellipse">
              <a:avLst/>
            </a:prstGeom>
            <a:solidFill>
              <a:srgbClr val="CACAC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cxnSp>
          <p:nvCxnSpPr>
            <p:cNvPr id="55" name="直接连接符 54"/>
            <p:cNvCxnSpPr/>
            <p:nvPr/>
          </p:nvCxnSpPr>
          <p:spPr>
            <a:xfrm>
              <a:off x="6175736" y="2876270"/>
              <a:ext cx="0" cy="609364"/>
            </a:xfrm>
            <a:prstGeom prst="line">
              <a:avLst/>
            </a:prstGeom>
            <a:noFill/>
            <a:ln w="6350" cap="rnd" cmpd="sng" algn="ctr">
              <a:solidFill>
                <a:srgbClr val="000000">
                  <a:alpha val="10000"/>
                </a:srgbClr>
              </a:solidFill>
              <a:prstDash val="solid"/>
              <a:round/>
            </a:ln>
            <a:effectLst/>
          </p:spPr>
        </p:cxnSp>
        <p:sp>
          <p:nvSpPr>
            <p:cNvPr id="56" name="文本框 55"/>
            <p:cNvSpPr txBox="1"/>
            <p:nvPr/>
          </p:nvSpPr>
          <p:spPr>
            <a:xfrm>
              <a:off x="5685301" y="3971156"/>
              <a:ext cx="1272540" cy="3043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defRPr sz="1600" b="1"/>
              </a:lvl1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</a:rPr>
                <a:t>2013-2017</a:t>
              </a:r>
              <a:endPara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</a:endParaRPr>
            </a:p>
          </p:txBody>
        </p:sp>
        <p:sp>
          <p:nvSpPr>
            <p:cNvPr id="57" name="椭圆 56"/>
            <p:cNvSpPr/>
            <p:nvPr/>
          </p:nvSpPr>
          <p:spPr>
            <a:xfrm>
              <a:off x="8058275" y="4663827"/>
              <a:ext cx="556181" cy="556181"/>
            </a:xfrm>
            <a:prstGeom prst="ellipse">
              <a:avLst/>
            </a:prstGeom>
            <a:solidFill>
              <a:srgbClr val="F3A50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等线" panose="02010600030101010101" charset="-122"/>
                  <a:ea typeface="等线" panose="02010600030101010101" charset="-122"/>
                  <a:cs typeface="+mn-cs"/>
                </a:rPr>
                <a:t>04</a:t>
              </a:r>
              <a:endParaRPr kumimoji="0" lang="en-US" altLang="zh-CN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sp>
          <p:nvSpPr>
            <p:cNvPr id="58" name="椭圆 57"/>
            <p:cNvSpPr/>
            <p:nvPr/>
          </p:nvSpPr>
          <p:spPr>
            <a:xfrm>
              <a:off x="8227272" y="3667054"/>
              <a:ext cx="218186" cy="218186"/>
            </a:xfrm>
            <a:prstGeom prst="ellipse">
              <a:avLst/>
            </a:prstGeom>
            <a:solidFill>
              <a:srgbClr val="000000">
                <a:lumMod val="50000"/>
                <a:lumOff val="50000"/>
                <a:alpha val="3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cxnSp>
          <p:nvCxnSpPr>
            <p:cNvPr id="59" name="直接连接符 58"/>
            <p:cNvCxnSpPr/>
            <p:nvPr/>
          </p:nvCxnSpPr>
          <p:spPr>
            <a:xfrm>
              <a:off x="8336365" y="4064411"/>
              <a:ext cx="0" cy="490287"/>
            </a:xfrm>
            <a:prstGeom prst="line">
              <a:avLst/>
            </a:prstGeom>
            <a:noFill/>
            <a:ln w="6350" cap="rnd" cmpd="sng" algn="ctr">
              <a:solidFill>
                <a:srgbClr val="000000">
                  <a:alpha val="10000"/>
                </a:srgbClr>
              </a:solidFill>
              <a:prstDash val="solid"/>
              <a:round/>
            </a:ln>
            <a:effectLst/>
          </p:spPr>
        </p:cxnSp>
        <p:sp>
          <p:nvSpPr>
            <p:cNvPr id="60" name="文本框 59"/>
            <p:cNvSpPr txBox="1"/>
            <p:nvPr/>
          </p:nvSpPr>
          <p:spPr>
            <a:xfrm>
              <a:off x="7892582" y="3207749"/>
              <a:ext cx="1178560" cy="3043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cs typeface="微软雅黑" panose="020B0503020204020204" pitchFamily="34" charset="-122"/>
                </a:rPr>
                <a:t>2018-</a:t>
              </a:r>
              <a:r>
                <a:rPr kumimoji="0" lang="zh-CN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cs typeface="微软雅黑" panose="020B0503020204020204" pitchFamily="34" charset="-122"/>
                </a:rPr>
                <a:t>至今</a:t>
              </a:r>
              <a:endPara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sp>
          <p:nvSpPr>
            <p:cNvPr id="61" name="椭圆 60"/>
            <p:cNvSpPr/>
            <p:nvPr/>
          </p:nvSpPr>
          <p:spPr>
            <a:xfrm>
              <a:off x="10218905" y="3667054"/>
              <a:ext cx="218186" cy="218186"/>
            </a:xfrm>
            <a:prstGeom prst="ellipse">
              <a:avLst/>
            </a:prstGeom>
            <a:solidFill>
              <a:srgbClr val="000000">
                <a:lumMod val="50000"/>
                <a:lumOff val="50000"/>
                <a:alpha val="3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sp>
          <p:nvSpPr>
            <p:cNvPr id="62" name="文本框 61"/>
            <p:cNvSpPr txBox="1"/>
            <p:nvPr/>
          </p:nvSpPr>
          <p:spPr>
            <a:xfrm>
              <a:off x="2175413" y="2213615"/>
              <a:ext cx="1944875" cy="2768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</a:rPr>
                <a:t>初创期</a:t>
              </a:r>
              <a:endPara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</a:endParaRPr>
            </a:p>
          </p:txBody>
        </p:sp>
        <p:sp>
          <p:nvSpPr>
            <p:cNvPr id="63" name="文本框 62"/>
            <p:cNvSpPr txBox="1"/>
            <p:nvPr/>
          </p:nvSpPr>
          <p:spPr>
            <a:xfrm>
              <a:off x="2175379" y="2534291"/>
              <a:ext cx="2000250" cy="5824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</a:rPr>
                <a:t>主营数据库服务、集成业务，以数据库运维业务为主要发展方向</a:t>
              </a:r>
              <a:endPara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</a:endParaRPr>
            </a:p>
          </p:txBody>
        </p:sp>
        <p:sp>
          <p:nvSpPr>
            <p:cNvPr id="64" name="文本框 63"/>
            <p:cNvSpPr txBox="1"/>
            <p:nvPr/>
          </p:nvSpPr>
          <p:spPr>
            <a:xfrm>
              <a:off x="4352571" y="4603066"/>
              <a:ext cx="1944875" cy="2768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</a:rPr>
                <a:t>转型期</a:t>
              </a:r>
              <a:endPara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</a:endParaRPr>
            </a:p>
          </p:txBody>
        </p:sp>
        <p:sp>
          <p:nvSpPr>
            <p:cNvPr id="65" name="文本框 64"/>
            <p:cNvSpPr txBox="1"/>
            <p:nvPr/>
          </p:nvSpPr>
          <p:spPr>
            <a:xfrm>
              <a:off x="4352817" y="4923869"/>
              <a:ext cx="2100998" cy="4155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cs typeface="微软雅黑" panose="020B0503020204020204" pitchFamily="34" charset="-122"/>
                </a:rPr>
                <a:t>2009年成立研发团队</a:t>
              </a:r>
              <a:endPara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cs typeface="微软雅黑" panose="020B0503020204020204" pitchFamily="34" charset="-122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cs typeface="微软雅黑" panose="020B0503020204020204" pitchFamily="34" charset="-122"/>
                </a:rPr>
                <a:t>2011年推出HighGo DB产品</a:t>
              </a:r>
              <a:endPara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sp>
          <p:nvSpPr>
            <p:cNvPr id="66" name="文本框 65"/>
            <p:cNvSpPr txBox="1"/>
            <p:nvPr/>
          </p:nvSpPr>
          <p:spPr>
            <a:xfrm>
              <a:off x="6496670" y="2224437"/>
              <a:ext cx="1944875" cy="2768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</a:rPr>
                <a:t>发展期</a:t>
              </a:r>
              <a:endPara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</a:endParaRPr>
            </a:p>
          </p:txBody>
        </p:sp>
        <p:sp>
          <p:nvSpPr>
            <p:cNvPr id="67" name="文本框 66"/>
            <p:cNvSpPr txBox="1"/>
            <p:nvPr/>
          </p:nvSpPr>
          <p:spPr>
            <a:xfrm>
              <a:off x="6496672" y="2545200"/>
              <a:ext cx="3000008" cy="5540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cs typeface="微软雅黑" panose="020B0503020204020204" pitchFamily="34" charset="-122"/>
                </a:rPr>
                <a:t>以HighGo DB数据库软件的研发和销售为主，打造HighGo DB系统软件生态圈</a:t>
              </a:r>
              <a:endPara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sp>
          <p:nvSpPr>
            <p:cNvPr id="68" name="文本框 67"/>
            <p:cNvSpPr txBox="1"/>
            <p:nvPr/>
          </p:nvSpPr>
          <p:spPr>
            <a:xfrm>
              <a:off x="8670736" y="4603066"/>
              <a:ext cx="1944875" cy="2768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</a:rPr>
                <a:t>创新突破期</a:t>
              </a:r>
              <a:endPara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</a:endParaRPr>
            </a:p>
          </p:txBody>
        </p:sp>
        <p:sp>
          <p:nvSpPr>
            <p:cNvPr id="69" name="文本框 68"/>
            <p:cNvSpPr txBox="1"/>
            <p:nvPr/>
          </p:nvSpPr>
          <p:spPr>
            <a:xfrm>
              <a:off x="8670794" y="4923908"/>
              <a:ext cx="2410291" cy="804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cs typeface="微软雅黑" panose="020B0503020204020204" pitchFamily="34" charset="-122"/>
                </a:rPr>
                <a:t>深耕安全可控业务</a:t>
              </a:r>
              <a:endPara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cs typeface="微软雅黑" panose="020B0503020204020204" pitchFamily="34" charset="-122"/>
              </a:endParaRPr>
            </a:p>
            <a:p>
              <a:pPr marL="0" marR="0" lvl="0" indent="0" defTabSz="9144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cs typeface="微软雅黑" panose="020B0503020204020204" pitchFamily="34" charset="-122"/>
                </a:rPr>
                <a:t>产品在多业务领域广泛应用</a:t>
              </a:r>
              <a:endPara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cs typeface="微软雅黑" panose="020B0503020204020204" pitchFamily="34" charset="-122"/>
              </a:endParaRPr>
            </a:p>
            <a:p>
              <a:pPr marL="0" marR="0" lvl="0" indent="0" defTabSz="9144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cs typeface="微软雅黑" panose="020B0503020204020204" pitchFamily="34" charset="-122"/>
                </a:rPr>
                <a:t>完成全国供应链服务体系生态建设</a:t>
              </a:r>
              <a:endPara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6"/>
          <p:cNvSpPr txBox="1"/>
          <p:nvPr/>
        </p:nvSpPr>
        <p:spPr>
          <a:xfrm>
            <a:off x="1412370" y="3875884"/>
            <a:ext cx="9317620" cy="696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zh-CN" sz="3600" b="1" dirty="0">
                <a:latin typeface="+mj-lt"/>
                <a:ea typeface="+mj-ea"/>
              </a:rPr>
              <a:t>PART 02</a:t>
            </a:r>
            <a:endParaRPr lang="zh-CN" altLang="en-US" sz="3600" b="1" dirty="0">
              <a:latin typeface="+mj-lt"/>
              <a:ea typeface="+mj-ea"/>
            </a:endParaRPr>
          </a:p>
        </p:txBody>
      </p:sp>
      <p:sp>
        <p:nvSpPr>
          <p:cNvPr id="8" name="内容占位符 7"/>
          <p:cNvSpPr txBox="1"/>
          <p:nvPr/>
        </p:nvSpPr>
        <p:spPr>
          <a:xfrm>
            <a:off x="1412370" y="4579528"/>
            <a:ext cx="9317620" cy="14290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3765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zh-CN" altLang="en-US" sz="2800" b="1" dirty="0"/>
              <a:t>我们做了什么</a:t>
            </a:r>
            <a:br>
              <a:rPr lang="en-US" altLang="zh-CN" sz="2800" b="1" dirty="0"/>
            </a:br>
            <a:r>
              <a:rPr lang="en-US" altLang="zh-CN" sz="2400" dirty="0">
                <a:solidFill>
                  <a:schemeClr val="bg1">
                    <a:lumMod val="65000"/>
                  </a:schemeClr>
                </a:solidFill>
              </a:rPr>
              <a:t>WHAT DO WE DO </a:t>
            </a:r>
            <a:endParaRPr lang="en-US" altLang="zh-CN" sz="28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2" name="椭圆 11"/>
          <p:cNvSpPr/>
          <p:nvPr/>
        </p:nvSpPr>
        <p:spPr>
          <a:xfrm>
            <a:off x="5398070" y="1083985"/>
            <a:ext cx="1440000" cy="1440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6" name="Picture 2"/>
          <p:cNvPicPr>
            <a:picLocks noChangeAspect="1"/>
          </p:cNvPicPr>
          <p:nvPr/>
        </p:nvPicPr>
        <p:blipFill rotWithShape="1">
          <a:blip r:embed="rId1"/>
          <a:srcRect r="67741"/>
          <a:stretch>
            <a:fillRect/>
          </a:stretch>
        </p:blipFill>
        <p:spPr>
          <a:xfrm>
            <a:off x="5559831" y="1201671"/>
            <a:ext cx="1039089" cy="1132590"/>
          </a:xfrm>
          <a:prstGeom prst="rect">
            <a:avLst/>
          </a:prstGeom>
        </p:spPr>
      </p:pic>
    </p:spTree>
    <p:custDataLst>
      <p:tags r:id="rId2"/>
    </p:custData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本框 16"/>
          <p:cNvSpPr txBox="1"/>
          <p:nvPr/>
        </p:nvSpPr>
        <p:spPr>
          <a:xfrm>
            <a:off x="669923" y="915745"/>
            <a:ext cx="10850565" cy="628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3200" b="1" dirty="0">
                <a:latin typeface="+mj-lt"/>
                <a:ea typeface="+mj-ea"/>
              </a:rPr>
              <a:t>国际交流合作</a:t>
            </a:r>
            <a:endParaRPr lang="zh-CN" altLang="en-US" sz="3200" b="1" dirty="0">
              <a:latin typeface="+mj-lt"/>
              <a:ea typeface="+mj-ea"/>
            </a:endParaRPr>
          </a:p>
        </p:txBody>
      </p:sp>
      <p:grpSp>
        <p:nvGrpSpPr>
          <p:cNvPr id="79" name="组合 78"/>
          <p:cNvGrpSpPr/>
          <p:nvPr/>
        </p:nvGrpSpPr>
        <p:grpSpPr>
          <a:xfrm>
            <a:off x="6422601" y="1577340"/>
            <a:ext cx="1736090" cy="1026795"/>
            <a:chOff x="11527" y="9587"/>
            <a:chExt cx="2734" cy="1617"/>
          </a:xfrm>
        </p:grpSpPr>
        <p:sp>
          <p:nvSpPr>
            <p:cNvPr id="80" name="文本框 79"/>
            <p:cNvSpPr txBox="1"/>
            <p:nvPr/>
          </p:nvSpPr>
          <p:spPr>
            <a:xfrm>
              <a:off x="11768" y="10710"/>
              <a:ext cx="1258" cy="494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200" dirty="0">
                  <a:solidFill>
                    <a:srgbClr val="000000"/>
                  </a:solidFill>
                  <a:latin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反馈</a:t>
              </a:r>
              <a:r>
                <a:rPr lang="en-US" altLang="zh-CN" sz="1200" dirty="0">
                  <a:solidFill>
                    <a:srgbClr val="000000"/>
                  </a:solidFill>
                  <a:latin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bug </a:t>
              </a:r>
              <a:endParaRPr lang="en-US" sz="1200" dirty="0">
                <a:solidFill>
                  <a:srgbClr val="000000"/>
                </a:solidFill>
                <a:latin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grpSp>
          <p:nvGrpSpPr>
            <p:cNvPr id="81" name="组合 80"/>
            <p:cNvGrpSpPr/>
            <p:nvPr/>
          </p:nvGrpSpPr>
          <p:grpSpPr>
            <a:xfrm>
              <a:off x="11527" y="9587"/>
              <a:ext cx="2734" cy="1325"/>
              <a:chOff x="9571" y="7506"/>
              <a:chExt cx="2734" cy="1325"/>
            </a:xfrm>
          </p:grpSpPr>
          <p:sp>
            <p:nvSpPr>
              <p:cNvPr id="82" name="文本框 81"/>
              <p:cNvSpPr txBox="1"/>
              <p:nvPr/>
            </p:nvSpPr>
            <p:spPr>
              <a:xfrm>
                <a:off x="9571" y="7597"/>
                <a:ext cx="2734" cy="123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4500" b="1" dirty="0">
                    <a:solidFill>
                      <a:srgbClr val="FFC000"/>
                    </a:solidFill>
                    <a:latin typeface="+mj-lt"/>
                    <a:ea typeface="方正细圆简体" panose="02010601030101010101" charset="-122"/>
                  </a:rPr>
                  <a:t>120</a:t>
                </a:r>
                <a:endParaRPr lang="en-US" altLang="zh-CN" sz="4500" b="1" dirty="0">
                  <a:solidFill>
                    <a:srgbClr val="FFC000"/>
                  </a:solidFill>
                  <a:latin typeface="+mj-lt"/>
                  <a:ea typeface="方正细圆简体" panose="02010601030101010101" charset="-122"/>
                </a:endParaRPr>
              </a:p>
            </p:txBody>
          </p:sp>
          <p:sp>
            <p:nvSpPr>
              <p:cNvPr id="83" name="文本框 82"/>
              <p:cNvSpPr txBox="1"/>
              <p:nvPr/>
            </p:nvSpPr>
            <p:spPr>
              <a:xfrm>
                <a:off x="11090" y="7506"/>
                <a:ext cx="785" cy="8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3000" b="1" dirty="0">
                    <a:solidFill>
                      <a:srgbClr val="FFC000"/>
                    </a:solidFill>
                    <a:latin typeface="+mj-lt"/>
                    <a:ea typeface="方正细圆简体" panose="02010601030101010101" charset="-122"/>
                  </a:rPr>
                  <a:t>+</a:t>
                </a:r>
                <a:endParaRPr lang="en-US" altLang="zh-CN" sz="3000" b="1" dirty="0">
                  <a:solidFill>
                    <a:srgbClr val="FFC000"/>
                  </a:solidFill>
                  <a:latin typeface="+mj-lt"/>
                  <a:ea typeface="方正细圆简体" panose="02010601030101010101" charset="-122"/>
                </a:endParaRPr>
              </a:p>
            </p:txBody>
          </p:sp>
        </p:grpSp>
      </p:grpSp>
      <p:grpSp>
        <p:nvGrpSpPr>
          <p:cNvPr id="84" name="组合 83"/>
          <p:cNvGrpSpPr/>
          <p:nvPr/>
        </p:nvGrpSpPr>
        <p:grpSpPr>
          <a:xfrm>
            <a:off x="8657590" y="1577340"/>
            <a:ext cx="1736090" cy="1048385"/>
            <a:chOff x="14529" y="2854"/>
            <a:chExt cx="2734" cy="1651"/>
          </a:xfrm>
        </p:grpSpPr>
        <p:sp>
          <p:nvSpPr>
            <p:cNvPr id="85" name="文本框 84"/>
            <p:cNvSpPr txBox="1"/>
            <p:nvPr/>
          </p:nvSpPr>
          <p:spPr>
            <a:xfrm>
              <a:off x="14726" y="4011"/>
              <a:ext cx="1812" cy="494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200" dirty="0">
                  <a:solidFill>
                    <a:srgbClr val="000000"/>
                  </a:solidFill>
                  <a:latin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提交patch </a:t>
              </a:r>
              <a:endParaRPr lang="en-US" sz="1200" dirty="0">
                <a:solidFill>
                  <a:srgbClr val="000000"/>
                </a:solidFill>
                <a:latin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grpSp>
          <p:nvGrpSpPr>
            <p:cNvPr id="86" name="组合 85"/>
            <p:cNvGrpSpPr/>
            <p:nvPr/>
          </p:nvGrpSpPr>
          <p:grpSpPr>
            <a:xfrm>
              <a:off x="14529" y="2854"/>
              <a:ext cx="2734" cy="1336"/>
              <a:chOff x="9501" y="7506"/>
              <a:chExt cx="2734" cy="1336"/>
            </a:xfrm>
          </p:grpSpPr>
          <p:sp>
            <p:nvSpPr>
              <p:cNvPr id="87" name="文本框 86"/>
              <p:cNvSpPr txBox="1"/>
              <p:nvPr/>
            </p:nvSpPr>
            <p:spPr>
              <a:xfrm>
                <a:off x="9501" y="7608"/>
                <a:ext cx="2734" cy="123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4500" b="1" dirty="0">
                    <a:solidFill>
                      <a:srgbClr val="FFC000"/>
                    </a:solidFill>
                    <a:latin typeface="+mj-lt"/>
                    <a:ea typeface="方正细圆简体" panose="02010601030101010101" charset="-122"/>
                  </a:rPr>
                  <a:t>160</a:t>
                </a:r>
                <a:endParaRPr lang="en-US" altLang="zh-CN" sz="4500" b="1" dirty="0">
                  <a:solidFill>
                    <a:srgbClr val="FFC000"/>
                  </a:solidFill>
                  <a:latin typeface="+mj-lt"/>
                  <a:ea typeface="方正细圆简体" panose="02010601030101010101" charset="-122"/>
                </a:endParaRPr>
              </a:p>
            </p:txBody>
          </p:sp>
          <p:sp>
            <p:nvSpPr>
              <p:cNvPr id="88" name="文本框 87"/>
              <p:cNvSpPr txBox="1"/>
              <p:nvPr/>
            </p:nvSpPr>
            <p:spPr>
              <a:xfrm>
                <a:off x="11018" y="7506"/>
                <a:ext cx="785" cy="8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3000" b="1" dirty="0">
                    <a:solidFill>
                      <a:srgbClr val="FFC000"/>
                    </a:solidFill>
                    <a:latin typeface="+mj-lt"/>
                    <a:ea typeface="方正细圆简体" panose="02010601030101010101" charset="-122"/>
                  </a:rPr>
                  <a:t>+</a:t>
                </a:r>
                <a:endParaRPr lang="en-US" altLang="zh-CN" sz="3000" b="1" dirty="0">
                  <a:solidFill>
                    <a:srgbClr val="FFC000"/>
                  </a:solidFill>
                  <a:latin typeface="+mj-lt"/>
                  <a:ea typeface="方正细圆简体" panose="02010601030101010101" charset="-122"/>
                </a:endParaRPr>
              </a:p>
            </p:txBody>
          </p:sp>
        </p:grpSp>
      </p:grpSp>
      <p:grpSp>
        <p:nvGrpSpPr>
          <p:cNvPr id="89" name="组合 88"/>
          <p:cNvGrpSpPr/>
          <p:nvPr/>
        </p:nvGrpSpPr>
        <p:grpSpPr>
          <a:xfrm>
            <a:off x="3294803" y="1577340"/>
            <a:ext cx="2827020" cy="1038860"/>
            <a:chOff x="15033" y="7185"/>
            <a:chExt cx="4452" cy="1636"/>
          </a:xfrm>
        </p:grpSpPr>
        <p:sp>
          <p:nvSpPr>
            <p:cNvPr id="90" name="文本框 89"/>
            <p:cNvSpPr txBox="1"/>
            <p:nvPr/>
          </p:nvSpPr>
          <p:spPr>
            <a:xfrm>
              <a:off x="15274" y="8327"/>
              <a:ext cx="1401" cy="494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200" dirty="0">
                  <a:solidFill>
                    <a:srgbClr val="000000"/>
                  </a:solidFill>
                  <a:latin typeface="微软雅黑" panose="020B0503020204020204" pitchFamily="34" charset="-122"/>
                  <a:cs typeface="宋体" panose="02010600030101010101" pitchFamily="2" charset="-122"/>
                  <a:sym typeface="+mn-ea"/>
                </a:rPr>
                <a:t>涉及代码</a:t>
              </a:r>
              <a:endParaRPr lang="en-US" sz="1200" dirty="0">
                <a:solidFill>
                  <a:srgbClr val="000000"/>
                </a:solidFill>
                <a:latin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grpSp>
          <p:nvGrpSpPr>
            <p:cNvPr id="91" name="组合 90"/>
            <p:cNvGrpSpPr/>
            <p:nvPr/>
          </p:nvGrpSpPr>
          <p:grpSpPr>
            <a:xfrm>
              <a:off x="15033" y="7185"/>
              <a:ext cx="4452" cy="1337"/>
              <a:chOff x="9828" y="7478"/>
              <a:chExt cx="4452" cy="1337"/>
            </a:xfrm>
          </p:grpSpPr>
          <p:sp>
            <p:nvSpPr>
              <p:cNvPr id="92" name="文本框 91"/>
              <p:cNvSpPr txBox="1"/>
              <p:nvPr/>
            </p:nvSpPr>
            <p:spPr>
              <a:xfrm>
                <a:off x="9828" y="7581"/>
                <a:ext cx="4452" cy="123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4500" b="1" dirty="0">
                    <a:solidFill>
                      <a:srgbClr val="FFC000"/>
                    </a:solidFill>
                    <a:latin typeface="+mj-lt"/>
                    <a:ea typeface="方正细圆简体" panose="02010601030101010101" charset="-122"/>
                  </a:rPr>
                  <a:t>100000</a:t>
                </a:r>
                <a:endParaRPr lang="en-US" altLang="zh-CN" sz="4500" b="1" dirty="0">
                  <a:solidFill>
                    <a:srgbClr val="FFC000"/>
                  </a:solidFill>
                  <a:latin typeface="+mj-lt"/>
                  <a:ea typeface="方正细圆简体" panose="02010601030101010101" charset="-122"/>
                </a:endParaRPr>
              </a:p>
            </p:txBody>
          </p:sp>
          <p:sp>
            <p:nvSpPr>
              <p:cNvPr id="93" name="文本框 92"/>
              <p:cNvSpPr txBox="1"/>
              <p:nvPr/>
            </p:nvSpPr>
            <p:spPr>
              <a:xfrm>
                <a:off x="12917" y="7478"/>
                <a:ext cx="785" cy="8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3000" b="1" dirty="0">
                    <a:solidFill>
                      <a:srgbClr val="FFC000"/>
                    </a:solidFill>
                    <a:latin typeface="+mj-lt"/>
                    <a:ea typeface="方正细圆简体" panose="02010601030101010101" charset="-122"/>
                  </a:rPr>
                  <a:t>+</a:t>
                </a:r>
                <a:endParaRPr lang="en-US" altLang="zh-CN" sz="3000" b="1" dirty="0">
                  <a:solidFill>
                    <a:srgbClr val="FFC000"/>
                  </a:solidFill>
                  <a:latin typeface="+mj-lt"/>
                  <a:ea typeface="方正细圆简体" panose="02010601030101010101" charset="-122"/>
                </a:endParaRPr>
              </a:p>
            </p:txBody>
          </p:sp>
        </p:grpSp>
      </p:grpSp>
      <p:pic>
        <p:nvPicPr>
          <p:cNvPr id="94" name="图片 93" descr="图片1"/>
          <p:cNvPicPr>
            <a:picLocks noChangeAspect="1"/>
          </p:cNvPicPr>
          <p:nvPr/>
        </p:nvPicPr>
        <p:blipFill rotWithShape="1">
          <a:blip r:embed="rId1"/>
          <a:srcRect b="17388"/>
          <a:stretch>
            <a:fillRect/>
          </a:stretch>
        </p:blipFill>
        <p:spPr>
          <a:xfrm>
            <a:off x="877906" y="2786761"/>
            <a:ext cx="4913294" cy="3074892"/>
          </a:xfrm>
          <a:prstGeom prst="rect">
            <a:avLst/>
          </a:prstGeom>
        </p:spPr>
      </p:pic>
      <p:grpSp>
        <p:nvGrpSpPr>
          <p:cNvPr id="96" name="组合 95"/>
          <p:cNvGrpSpPr/>
          <p:nvPr/>
        </p:nvGrpSpPr>
        <p:grpSpPr>
          <a:xfrm>
            <a:off x="1433195" y="1577340"/>
            <a:ext cx="1736090" cy="1011555"/>
            <a:chOff x="11527" y="9587"/>
            <a:chExt cx="2734" cy="1593"/>
          </a:xfrm>
        </p:grpSpPr>
        <p:sp>
          <p:nvSpPr>
            <p:cNvPr id="97" name="文本框 96"/>
            <p:cNvSpPr txBox="1"/>
            <p:nvPr/>
          </p:nvSpPr>
          <p:spPr>
            <a:xfrm>
              <a:off x="11696" y="10686"/>
              <a:ext cx="1408" cy="494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200" dirty="0">
                  <a:solidFill>
                    <a:srgbClr val="000000"/>
                  </a:solidFill>
                  <a:latin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技术文章</a:t>
              </a:r>
              <a:r>
                <a:rPr lang="en-US" altLang="zh-CN" sz="1200" dirty="0">
                  <a:solidFill>
                    <a:srgbClr val="000000"/>
                  </a:solidFill>
                  <a:latin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 </a:t>
              </a:r>
              <a:endParaRPr lang="en-US" sz="1200" dirty="0">
                <a:solidFill>
                  <a:srgbClr val="000000"/>
                </a:solidFill>
                <a:latin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grpSp>
          <p:nvGrpSpPr>
            <p:cNvPr id="98" name="组合 97"/>
            <p:cNvGrpSpPr/>
            <p:nvPr/>
          </p:nvGrpSpPr>
          <p:grpSpPr>
            <a:xfrm>
              <a:off x="11527" y="9587"/>
              <a:ext cx="2734" cy="1325"/>
              <a:chOff x="9571" y="7506"/>
              <a:chExt cx="2734" cy="1325"/>
            </a:xfrm>
          </p:grpSpPr>
          <p:sp>
            <p:nvSpPr>
              <p:cNvPr id="99" name="文本框 98"/>
              <p:cNvSpPr txBox="1"/>
              <p:nvPr/>
            </p:nvSpPr>
            <p:spPr>
              <a:xfrm>
                <a:off x="9571" y="7597"/>
                <a:ext cx="2734" cy="123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4500" b="1" dirty="0">
                    <a:solidFill>
                      <a:srgbClr val="FFC000"/>
                    </a:solidFill>
                    <a:latin typeface="+mj-lt"/>
                    <a:ea typeface="方正细圆简体" panose="02010601030101010101" charset="-122"/>
                  </a:rPr>
                  <a:t>100</a:t>
                </a:r>
                <a:endParaRPr lang="en-US" altLang="zh-CN" sz="4500" b="1" dirty="0">
                  <a:solidFill>
                    <a:srgbClr val="FFC000"/>
                  </a:solidFill>
                  <a:latin typeface="+mj-lt"/>
                  <a:ea typeface="方正细圆简体" panose="02010601030101010101" charset="-122"/>
                </a:endParaRPr>
              </a:p>
            </p:txBody>
          </p:sp>
          <p:sp>
            <p:nvSpPr>
              <p:cNvPr id="100" name="文本框 99"/>
              <p:cNvSpPr txBox="1"/>
              <p:nvPr/>
            </p:nvSpPr>
            <p:spPr>
              <a:xfrm>
                <a:off x="11090" y="7506"/>
                <a:ext cx="785" cy="8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3000" b="1" dirty="0">
                    <a:solidFill>
                      <a:srgbClr val="FFC000"/>
                    </a:solidFill>
                    <a:latin typeface="+mj-lt"/>
                    <a:ea typeface="方正细圆简体" panose="02010601030101010101" charset="-122"/>
                  </a:rPr>
                  <a:t>+</a:t>
                </a:r>
                <a:endParaRPr lang="en-US" altLang="zh-CN" sz="3000" b="1" dirty="0">
                  <a:solidFill>
                    <a:srgbClr val="FFC000"/>
                  </a:solidFill>
                  <a:latin typeface="+mj-lt"/>
                  <a:ea typeface="方正细圆简体" panose="02010601030101010101" charset="-122"/>
                </a:endParaRPr>
              </a:p>
            </p:txBody>
          </p:sp>
        </p:grpSp>
      </p:grp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35725" y="2749296"/>
            <a:ext cx="5355591" cy="3128044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本框 16"/>
          <p:cNvSpPr txBox="1"/>
          <p:nvPr/>
        </p:nvSpPr>
        <p:spPr>
          <a:xfrm>
            <a:off x="669923" y="915745"/>
            <a:ext cx="10850565" cy="628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3200" b="1" dirty="0">
                <a:latin typeface="+mj-lt"/>
                <a:ea typeface="+mj-ea"/>
              </a:rPr>
              <a:t>国际交流合作</a:t>
            </a:r>
            <a:endParaRPr lang="zh-CN" altLang="en-US" sz="3200" b="1" dirty="0">
              <a:latin typeface="+mj-lt"/>
              <a:ea typeface="+mj-ea"/>
            </a:endParaRPr>
          </a:p>
        </p:txBody>
      </p:sp>
      <p:sp>
        <p:nvSpPr>
          <p:cNvPr id="27" name="Google Shape;196;p6"/>
          <p:cNvSpPr txBox="1">
            <a:spLocks noGrp="1"/>
          </p:cNvSpPr>
          <p:nvPr/>
        </p:nvSpPr>
        <p:spPr>
          <a:xfrm>
            <a:off x="-354965" y="1691641"/>
            <a:ext cx="6504305" cy="42005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noAutofit/>
            <a:scene3d>
              <a:camera prst="orthographicFront"/>
              <a:lightRig rig="threePt" dir="t"/>
            </a:scene3d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609600" marR="0" lvl="0" indent="-541655" algn="l" rtl="0" eaLnBrk="1" hangingPunct="1">
              <a:lnSpc>
                <a:spcPct val="90000"/>
              </a:lnSpc>
              <a:spcBef>
                <a:spcPts val="1335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 panose="020B0604020202020204"/>
              <a:buChar char="•"/>
              <a:defRPr sz="3735" b="0" i="0" u="none" strike="noStrike" cap="none">
                <a:solidFill>
                  <a:schemeClr val="bg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marL="1219200" marR="0" lvl="1" indent="-508000" algn="l" rtl="0" eaLnBrk="1" hangingPunct="1">
              <a:lnSpc>
                <a:spcPct val="90000"/>
              </a:lnSpc>
              <a:spcBef>
                <a:spcPts val="66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 panose="020B0604020202020204"/>
              <a:buChar char="•"/>
              <a:defRPr sz="32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L="1828800" marR="0" lvl="2" indent="-474345" algn="l" rtl="0" eaLnBrk="1" hangingPunct="1">
              <a:lnSpc>
                <a:spcPct val="90000"/>
              </a:lnSpc>
              <a:spcBef>
                <a:spcPts val="66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 panose="020B0604020202020204"/>
              <a:buChar char="•"/>
              <a:defRPr sz="2665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L="2438400" marR="0" lvl="3" indent="-457200" algn="l" rtl="0" eaLnBrk="1" hangingPunct="1">
              <a:lnSpc>
                <a:spcPct val="90000"/>
              </a:lnSpc>
              <a:spcBef>
                <a:spcPts val="66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24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L="3048000" marR="0" lvl="4" indent="-457200" algn="l" rtl="0" eaLnBrk="1" hangingPunct="1">
              <a:lnSpc>
                <a:spcPct val="90000"/>
              </a:lnSpc>
              <a:spcBef>
                <a:spcPts val="66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24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L="3657600" marR="0" lvl="5" indent="-457200" algn="l" rtl="0" eaLnBrk="1" hangingPunct="1">
              <a:lnSpc>
                <a:spcPct val="90000"/>
              </a:lnSpc>
              <a:spcBef>
                <a:spcPts val="66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24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L="4267200" marR="0" lvl="6" indent="-457200" algn="l" rtl="0" eaLnBrk="1" hangingPunct="1">
              <a:lnSpc>
                <a:spcPct val="90000"/>
              </a:lnSpc>
              <a:spcBef>
                <a:spcPts val="66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24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L="4876800" marR="0" lvl="7" indent="-457200" algn="l" rtl="0" eaLnBrk="1" hangingPunct="1">
              <a:lnSpc>
                <a:spcPct val="90000"/>
              </a:lnSpc>
              <a:spcBef>
                <a:spcPts val="66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24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L="5486400" marR="0" lvl="8" indent="-457200" algn="l" rtl="0" eaLnBrk="1" hangingPunct="1">
              <a:lnSpc>
                <a:spcPct val="90000"/>
              </a:lnSpc>
              <a:spcBef>
                <a:spcPts val="66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24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pPr marL="1242695" lvl="2" indent="-171450">
              <a:lnSpc>
                <a:spcPct val="120000"/>
              </a:lnSpc>
              <a:spcBef>
                <a:spcPts val="500"/>
              </a:spcBef>
              <a:buClrTx/>
              <a:buSzPts val="1250"/>
              <a:buFont typeface="Arial" panose="020B0604020202020204" pitchFamily="34" charset="0"/>
              <a:buChar char="•"/>
            </a:pPr>
            <a:r>
              <a:rPr lang="zh-CN" altLang="en-US" sz="1200" b="1" dirty="0">
                <a:solidFill>
                  <a:srgbClr val="000000"/>
                </a:solidFill>
                <a:latin typeface="+mj-ea"/>
                <a:ea typeface="+mj-ea"/>
              </a:rPr>
              <a:t>数字类型问题</a:t>
            </a:r>
            <a:br>
              <a:rPr lang="zh-CN" altLang="en-US" sz="1100" dirty="0">
                <a:solidFill>
                  <a:srgbClr val="000000"/>
                </a:solidFill>
                <a:latin typeface="+mj-ea"/>
                <a:ea typeface="+mj-ea"/>
              </a:rPr>
            </a:br>
            <a:r>
              <a:rPr lang="en-US" altLang="zh-CN" sz="1100" u="sng" dirty="0">
                <a:solidFill>
                  <a:srgbClr val="000000"/>
                </a:solidFill>
                <a:latin typeface="+mj-ea"/>
                <a:ea typeface="+mj-ea"/>
              </a:rPr>
              <a:t>https://www.postgresql.org/message-id/534CFDC9.3020104%40gmail.com</a:t>
            </a:r>
            <a:endParaRPr sz="1100" dirty="0">
              <a:solidFill>
                <a:srgbClr val="000000"/>
              </a:solidFill>
              <a:latin typeface="+mj-ea"/>
              <a:ea typeface="+mj-ea"/>
            </a:endParaRPr>
          </a:p>
          <a:p>
            <a:pPr marL="1242695" lvl="2" indent="-171450">
              <a:lnSpc>
                <a:spcPct val="120000"/>
              </a:lnSpc>
              <a:spcBef>
                <a:spcPts val="500"/>
              </a:spcBef>
              <a:buClrTx/>
              <a:buSzPts val="1250"/>
              <a:buFont typeface="Arial" panose="020B0604020202020204" pitchFamily="34" charset="0"/>
              <a:buChar char="•"/>
            </a:pPr>
            <a:r>
              <a:rPr lang="en-US" altLang="zh-CN" sz="1200" b="1" dirty="0">
                <a:solidFill>
                  <a:srgbClr val="000000"/>
                </a:solidFill>
                <a:latin typeface="+mj-ea"/>
                <a:ea typeface="+mj-ea"/>
              </a:rPr>
              <a:t>Postmaster.pid </a:t>
            </a:r>
            <a:r>
              <a:rPr lang="zh-CN" altLang="en-US" sz="1200" b="1" dirty="0">
                <a:solidFill>
                  <a:srgbClr val="000000"/>
                </a:solidFill>
                <a:latin typeface="+mj-ea"/>
                <a:ea typeface="+mj-ea"/>
              </a:rPr>
              <a:t>消失问题</a:t>
            </a:r>
            <a:br>
              <a:rPr lang="zh-CN" altLang="en-US" sz="1100" dirty="0">
                <a:solidFill>
                  <a:srgbClr val="000000"/>
                </a:solidFill>
                <a:latin typeface="+mj-ea"/>
                <a:ea typeface="+mj-ea"/>
              </a:rPr>
            </a:br>
            <a:r>
              <a:rPr lang="en-US" altLang="zh-CN" sz="1100" u="sng" dirty="0">
                <a:solidFill>
                  <a:srgbClr val="000000"/>
                </a:solidFill>
                <a:latin typeface="+mj-ea"/>
                <a:ea typeface="+mj-ea"/>
              </a:rPr>
              <a:t>https://www.postgresql.org/message-id/CAHwz6tbSq3ngJGQy2OWZ8Q6HCLxYeseuH4i30=YSLwnCeKoZPw@mail.gmail.com</a:t>
            </a:r>
            <a:endParaRPr sz="1100" dirty="0">
              <a:solidFill>
                <a:srgbClr val="000000"/>
              </a:solidFill>
              <a:latin typeface="+mj-ea"/>
              <a:ea typeface="+mj-ea"/>
            </a:endParaRPr>
          </a:p>
          <a:p>
            <a:pPr marL="1242695" lvl="2" indent="-171450">
              <a:lnSpc>
                <a:spcPct val="120000"/>
              </a:lnSpc>
              <a:spcBef>
                <a:spcPts val="500"/>
              </a:spcBef>
              <a:buClrTx/>
              <a:buSzPts val="1250"/>
              <a:buFont typeface="Arial" panose="020B0604020202020204" pitchFamily="34" charset="0"/>
              <a:buChar char="•"/>
            </a:pPr>
            <a:r>
              <a:rPr lang="en-US" altLang="zh-CN" sz="1200" b="1" dirty="0">
                <a:solidFill>
                  <a:srgbClr val="000000"/>
                </a:solidFill>
                <a:latin typeface="+mj-ea"/>
                <a:ea typeface="+mj-ea"/>
              </a:rPr>
              <a:t>Money </a:t>
            </a:r>
            <a:r>
              <a:rPr lang="zh-CN" altLang="en-US" sz="1200" b="1" dirty="0">
                <a:solidFill>
                  <a:srgbClr val="000000"/>
                </a:solidFill>
                <a:latin typeface="+mj-ea"/>
                <a:ea typeface="+mj-ea"/>
              </a:rPr>
              <a:t>类型作为分区表</a:t>
            </a:r>
            <a:r>
              <a:rPr lang="en-US" altLang="zh-CN" sz="1200" b="1" dirty="0">
                <a:solidFill>
                  <a:srgbClr val="000000"/>
                </a:solidFill>
                <a:latin typeface="+mj-ea"/>
                <a:ea typeface="+mj-ea"/>
              </a:rPr>
              <a:t>Key </a:t>
            </a:r>
            <a:r>
              <a:rPr lang="zh-CN" altLang="en-US" sz="1200" b="1" dirty="0">
                <a:solidFill>
                  <a:srgbClr val="000000"/>
                </a:solidFill>
                <a:latin typeface="+mj-ea"/>
                <a:ea typeface="+mj-ea"/>
              </a:rPr>
              <a:t>问题</a:t>
            </a:r>
            <a:br>
              <a:rPr lang="zh-CN" altLang="en-US" sz="1100" dirty="0">
                <a:solidFill>
                  <a:srgbClr val="000000"/>
                </a:solidFill>
                <a:latin typeface="+mj-ea"/>
                <a:ea typeface="+mj-ea"/>
              </a:rPr>
            </a:br>
            <a:r>
              <a:rPr lang="en-US" altLang="zh-CN" sz="1100" u="sng" dirty="0">
                <a:solidFill>
                  <a:srgbClr val="000000"/>
                </a:solidFill>
                <a:latin typeface="+mj-ea"/>
                <a:ea typeface="+mj-ea"/>
              </a:rPr>
              <a:t>https://www.postgresql.org/message-id/20170524024550.29935.14396@wrigleys.postgresql.org</a:t>
            </a:r>
            <a:endParaRPr sz="1100" dirty="0">
              <a:solidFill>
                <a:srgbClr val="000000"/>
              </a:solidFill>
              <a:latin typeface="+mj-ea"/>
              <a:ea typeface="+mj-ea"/>
            </a:endParaRPr>
          </a:p>
          <a:p>
            <a:pPr marL="1242695" lvl="2" indent="-171450">
              <a:lnSpc>
                <a:spcPct val="120000"/>
              </a:lnSpc>
              <a:spcBef>
                <a:spcPts val="500"/>
              </a:spcBef>
              <a:buClrTx/>
              <a:buSzPts val="1250"/>
              <a:buFont typeface="Arial" panose="020B0604020202020204" pitchFamily="34" charset="0"/>
              <a:buChar char="•"/>
            </a:pPr>
            <a:r>
              <a:rPr lang="zh-CN" altLang="en-US" sz="1200" b="1" dirty="0">
                <a:solidFill>
                  <a:srgbClr val="000000"/>
                </a:solidFill>
                <a:latin typeface="+mj-ea"/>
                <a:ea typeface="+mj-ea"/>
              </a:rPr>
              <a:t>分区约束问题：多列作为范围分区的</a:t>
            </a:r>
            <a:r>
              <a:rPr lang="en-US" altLang="zh-CN" sz="1200" b="1" dirty="0">
                <a:solidFill>
                  <a:srgbClr val="000000"/>
                </a:solidFill>
                <a:latin typeface="+mj-ea"/>
                <a:ea typeface="+mj-ea"/>
              </a:rPr>
              <a:t>KEY</a:t>
            </a:r>
            <a:br>
              <a:rPr lang="zh-CN" altLang="en-US" sz="1100" dirty="0">
                <a:solidFill>
                  <a:srgbClr val="000000"/>
                </a:solidFill>
                <a:latin typeface="+mj-ea"/>
                <a:ea typeface="+mj-ea"/>
              </a:rPr>
            </a:br>
            <a:r>
              <a:rPr lang="en-US" altLang="zh-CN" sz="1100" u="sng" dirty="0">
                <a:solidFill>
                  <a:srgbClr val="000000"/>
                </a:solidFill>
                <a:latin typeface="+mj-ea"/>
                <a:ea typeface="+mj-ea"/>
              </a:rPr>
              <a:t>https://www.postgresql.org/message-id/20170701065244.1476.87707@wrigleys.postgresql.org</a:t>
            </a:r>
            <a:endParaRPr sz="1100" u="sng" dirty="0">
              <a:solidFill>
                <a:srgbClr val="000000"/>
              </a:solidFill>
              <a:latin typeface="+mj-ea"/>
              <a:ea typeface="+mj-ea"/>
            </a:endParaRPr>
          </a:p>
          <a:p>
            <a:pPr marL="1242695" lvl="2" indent="-171450">
              <a:lnSpc>
                <a:spcPct val="120000"/>
              </a:lnSpc>
              <a:spcBef>
                <a:spcPts val="500"/>
              </a:spcBef>
              <a:buClrTx/>
              <a:buSzPts val="1250"/>
              <a:buFont typeface="Arial" panose="020B0604020202020204" pitchFamily="34" charset="0"/>
              <a:buChar char="•"/>
            </a:pPr>
            <a:r>
              <a:rPr lang="en-CA" altLang="zh-CN" sz="1200" b="1" dirty="0" err="1">
                <a:solidFill>
                  <a:srgbClr val="000000"/>
                </a:solidFill>
                <a:latin typeface="+mj-ea"/>
                <a:ea typeface="+mj-ea"/>
              </a:rPr>
              <a:t>ReplicationOriginShmemInit</a:t>
            </a:r>
            <a:r>
              <a:rPr lang="en-CA" altLang="zh-CN" sz="1200" b="1" dirty="0">
                <a:solidFill>
                  <a:srgbClr val="000000"/>
                </a:solidFill>
                <a:latin typeface="+mj-ea"/>
                <a:ea typeface="+mj-ea"/>
              </a:rPr>
              <a:t> </a:t>
            </a:r>
            <a:r>
              <a:rPr lang="zh-CN" altLang="en-US" sz="1200" b="1" dirty="0">
                <a:solidFill>
                  <a:srgbClr val="000000"/>
                </a:solidFill>
                <a:latin typeface="+mj-ea"/>
                <a:ea typeface="+mj-ea"/>
              </a:rPr>
              <a:t>内存访问越界</a:t>
            </a:r>
            <a:br>
              <a:rPr lang="zh-CN" altLang="en-US" sz="1100" dirty="0">
                <a:solidFill>
                  <a:srgbClr val="000000"/>
                </a:solidFill>
                <a:latin typeface="+mj-ea"/>
                <a:ea typeface="+mj-ea"/>
              </a:rPr>
            </a:br>
            <a:r>
              <a:rPr lang="en-US" altLang="zh-CN" sz="1100" u="sng" dirty="0">
                <a:solidFill>
                  <a:srgbClr val="000000"/>
                </a:solidFill>
                <a:latin typeface="+mj-ea"/>
                <a:ea typeface="+mj-ea"/>
              </a:rPr>
              <a:t>https://www.postgresql.org/message-id/20170410062621.25948.74646@wrigleys.postgresql.org</a:t>
            </a:r>
            <a:endParaRPr sz="1100" u="sng" dirty="0">
              <a:solidFill>
                <a:srgbClr val="000000"/>
              </a:solidFill>
              <a:latin typeface="+mj-ea"/>
              <a:ea typeface="+mj-ea"/>
            </a:endParaRPr>
          </a:p>
          <a:p>
            <a:pPr marL="1242695" lvl="2" indent="-171450">
              <a:lnSpc>
                <a:spcPct val="120000"/>
              </a:lnSpc>
              <a:spcBef>
                <a:spcPts val="500"/>
              </a:spcBef>
              <a:buClrTx/>
              <a:buSzPts val="1250"/>
              <a:buFont typeface="Arial" panose="020B0604020202020204" pitchFamily="34" charset="0"/>
              <a:buChar char="•"/>
            </a:pPr>
            <a:r>
              <a:rPr lang="zh-CN" altLang="en-US" sz="1200" b="1" dirty="0">
                <a:solidFill>
                  <a:srgbClr val="000000"/>
                </a:solidFill>
                <a:latin typeface="+mj-ea"/>
                <a:ea typeface="+mj-ea"/>
              </a:rPr>
              <a:t>当损坏的</a:t>
            </a:r>
            <a:r>
              <a:rPr lang="en-US" altLang="zh-CN" sz="1200" b="1" dirty="0">
                <a:solidFill>
                  <a:srgbClr val="000000"/>
                </a:solidFill>
                <a:latin typeface="+mj-ea"/>
                <a:ea typeface="+mj-ea"/>
              </a:rPr>
              <a:t>WAL</a:t>
            </a:r>
            <a:r>
              <a:rPr lang="zh-CN" altLang="en-US" sz="1200" b="1" dirty="0">
                <a:solidFill>
                  <a:srgbClr val="000000"/>
                </a:solidFill>
                <a:latin typeface="+mj-ea"/>
                <a:ea typeface="+mj-ea"/>
              </a:rPr>
              <a:t>记录到达备机时，</a:t>
            </a:r>
            <a:r>
              <a:rPr lang="en-US" altLang="zh-CN" sz="1200" b="1" dirty="0">
                <a:solidFill>
                  <a:srgbClr val="000000"/>
                </a:solidFill>
                <a:latin typeface="+mj-ea"/>
                <a:ea typeface="+mj-ea"/>
              </a:rPr>
              <a:t>WAL</a:t>
            </a:r>
            <a:r>
              <a:rPr lang="zh-CN" altLang="en-US" sz="1200" b="1" dirty="0">
                <a:solidFill>
                  <a:srgbClr val="000000"/>
                </a:solidFill>
                <a:latin typeface="+mj-ea"/>
                <a:ea typeface="+mj-ea"/>
              </a:rPr>
              <a:t>接收器进程重启失败</a:t>
            </a:r>
            <a:br>
              <a:rPr lang="zh-CN" altLang="en-US" sz="1100" dirty="0">
                <a:solidFill>
                  <a:srgbClr val="000000"/>
                </a:solidFill>
                <a:latin typeface="+mj-ea"/>
                <a:ea typeface="+mj-ea"/>
              </a:rPr>
            </a:br>
            <a:r>
              <a:rPr lang="en-US" altLang="zh-CN" sz="1100" u="sng" dirty="0">
                <a:solidFill>
                  <a:srgbClr val="000000"/>
                </a:solidFill>
                <a:latin typeface="+mj-ea"/>
                <a:ea typeface="+mj-ea"/>
              </a:rPr>
              <a:t>https://www.postgresql.org/message-id/15567-a9ff747c5e7c031c@postgresql.org</a:t>
            </a:r>
            <a:endParaRPr lang="zh-CN" altLang="en-US" sz="1100" dirty="0">
              <a:solidFill>
                <a:srgbClr val="000000"/>
              </a:solidFill>
              <a:latin typeface="+mj-ea"/>
              <a:ea typeface="+mj-ea"/>
            </a:endParaRPr>
          </a:p>
        </p:txBody>
      </p:sp>
      <p:sp>
        <p:nvSpPr>
          <p:cNvPr id="28" name="Google Shape;196;p6"/>
          <p:cNvSpPr txBox="1"/>
          <p:nvPr/>
        </p:nvSpPr>
        <p:spPr>
          <a:xfrm>
            <a:off x="5575935" y="1691641"/>
            <a:ext cx="5831205" cy="43205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  <a:scene3d>
              <a:camera prst="orthographicFront"/>
              <a:lightRig rig="threePt" dir="t"/>
            </a:scene3d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609600" marR="0" lvl="0" indent="-541655" algn="l" rtl="0" eaLnBrk="1" hangingPunct="1">
              <a:lnSpc>
                <a:spcPct val="90000"/>
              </a:lnSpc>
              <a:spcBef>
                <a:spcPts val="1335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 panose="020B0604020202020204"/>
              <a:buChar char="•"/>
              <a:defRPr sz="3735" b="0" i="0" u="none" strike="noStrike" cap="none">
                <a:solidFill>
                  <a:schemeClr val="bg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marL="1219200" marR="0" lvl="1" indent="-508000" algn="l" rtl="0" eaLnBrk="1" hangingPunct="1">
              <a:lnSpc>
                <a:spcPct val="90000"/>
              </a:lnSpc>
              <a:spcBef>
                <a:spcPts val="66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 panose="020B0604020202020204"/>
              <a:buChar char="•"/>
              <a:defRPr sz="32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L="1828800" marR="0" lvl="2" indent="-474345" algn="l" rtl="0" eaLnBrk="1" hangingPunct="1">
              <a:lnSpc>
                <a:spcPct val="90000"/>
              </a:lnSpc>
              <a:spcBef>
                <a:spcPts val="66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 panose="020B0604020202020204"/>
              <a:buChar char="•"/>
              <a:defRPr sz="2665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L="2438400" marR="0" lvl="3" indent="-457200" algn="l" rtl="0" eaLnBrk="1" hangingPunct="1">
              <a:lnSpc>
                <a:spcPct val="90000"/>
              </a:lnSpc>
              <a:spcBef>
                <a:spcPts val="66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24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L="3048000" marR="0" lvl="4" indent="-457200" algn="l" rtl="0" eaLnBrk="1" hangingPunct="1">
              <a:lnSpc>
                <a:spcPct val="90000"/>
              </a:lnSpc>
              <a:spcBef>
                <a:spcPts val="66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24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L="3657600" marR="0" lvl="5" indent="-457200" algn="l" rtl="0" eaLnBrk="1" hangingPunct="1">
              <a:lnSpc>
                <a:spcPct val="90000"/>
              </a:lnSpc>
              <a:spcBef>
                <a:spcPts val="66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24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L="4267200" marR="0" lvl="6" indent="-457200" algn="l" rtl="0" eaLnBrk="1" hangingPunct="1">
              <a:lnSpc>
                <a:spcPct val="90000"/>
              </a:lnSpc>
              <a:spcBef>
                <a:spcPts val="66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24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L="4876800" marR="0" lvl="7" indent="-457200" algn="l" rtl="0" eaLnBrk="1" hangingPunct="1">
              <a:lnSpc>
                <a:spcPct val="90000"/>
              </a:lnSpc>
              <a:spcBef>
                <a:spcPts val="66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24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L="5486400" marR="0" lvl="8" indent="-457200" algn="l" rtl="0" eaLnBrk="1" hangingPunct="1">
              <a:lnSpc>
                <a:spcPct val="90000"/>
              </a:lnSpc>
              <a:spcBef>
                <a:spcPts val="66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24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pPr marL="1242695" marR="0" lvl="2" indent="-171450" defTabSz="914400" rtl="0" eaLnBrk="1" fontAlgn="auto" latinLnBrk="0" hangingPunct="1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SzPts val="1250"/>
              <a:buFont typeface="Arial" panose="020B0604020202020204" pitchFamily="34" charset="0"/>
              <a:buChar char="•"/>
              <a:defRPr/>
            </a:pP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+mj-ea"/>
                <a:ea typeface="+mj-ea"/>
                <a:cs typeface="Calibri" panose="020F0502020204030204"/>
                <a:sym typeface="Calibri" panose="020F0502020204030204"/>
              </a:rPr>
              <a:t>创建一个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+mj-ea"/>
                <a:ea typeface="+mj-ea"/>
                <a:cs typeface="Calibri" panose="020F0502020204030204"/>
                <a:sym typeface="Calibri" panose="020F0502020204030204"/>
              </a:rPr>
              <a:t>CURSOR</a:t>
            </a: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+mj-ea"/>
                <a:ea typeface="+mj-ea"/>
                <a:cs typeface="Calibri" panose="020F0502020204030204"/>
                <a:sym typeface="Calibri" panose="020F0502020204030204"/>
              </a:rPr>
              <a:t>函数导致服务器宕机</a:t>
            </a:r>
            <a:br>
              <a: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+mj-ea"/>
                <a:ea typeface="+mj-ea"/>
                <a:cs typeface="Calibri" panose="020F0502020204030204"/>
                <a:sym typeface="Calibri" panose="020F0502020204030204"/>
              </a:rPr>
            </a:br>
            <a:r>
              <a:rPr kumimoji="0" lang="en-US" altLang="zh-CN" sz="11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+mj-ea"/>
                <a:ea typeface="+mj-ea"/>
                <a:cs typeface="Calibri" panose="020F0502020204030204"/>
                <a:sym typeface="Calibri" panose="020F0502020204030204"/>
              </a:rPr>
              <a:t>https://github.com/postgrespro/pg_query_state/issues/11</a:t>
            </a:r>
            <a:endParaRPr kumimoji="0" lang="zh-CN" alt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uLnTx/>
              <a:uFillTx/>
              <a:latin typeface="+mj-ea"/>
              <a:ea typeface="+mj-ea"/>
              <a:cs typeface="Calibri" panose="020F0502020204030204"/>
              <a:sym typeface="Calibri" panose="020F0502020204030204"/>
            </a:endParaRPr>
          </a:p>
          <a:p>
            <a:pPr marL="1242695" marR="0" lvl="2" indent="-171450" defTabSz="914400" rtl="0" eaLnBrk="1" fontAlgn="auto" latinLnBrk="0" hangingPunct="1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SzPts val="1250"/>
              <a:buFont typeface="Arial" panose="020B0604020202020204" pitchFamily="34" charset="0"/>
              <a:buChar char="•"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+mj-ea"/>
                <a:ea typeface="+mj-ea"/>
                <a:cs typeface="Calibri" panose="020F0502020204030204"/>
                <a:sym typeface="Calibri" panose="020F0502020204030204"/>
              </a:rPr>
              <a:t>PG</a:t>
            </a: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+mj-ea"/>
                <a:ea typeface="+mj-ea"/>
                <a:cs typeface="Calibri" panose="020F0502020204030204"/>
                <a:sym typeface="Calibri" panose="020F0502020204030204"/>
              </a:rPr>
              <a:t>哈希分区问题</a:t>
            </a:r>
            <a:br>
              <a: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+mj-ea"/>
                <a:ea typeface="+mj-ea"/>
                <a:cs typeface="Calibri" panose="020F0502020204030204"/>
                <a:sym typeface="Calibri" panose="020F0502020204030204"/>
              </a:rPr>
            </a:br>
            <a:r>
              <a:rPr kumimoji="0" lang="en-US" altLang="zh-CN" sz="11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+mj-ea"/>
                <a:ea typeface="+mj-ea"/>
                <a:cs typeface="Calibri" panose="020F0502020204030204"/>
                <a:sym typeface="Calibri" panose="020F0502020204030204"/>
              </a:rPr>
              <a:t>https://www.postgresql.org/message-id/2017082612390093777512%40highgo.com</a:t>
            </a:r>
            <a:endParaRPr kumimoji="0" lang="zh-CN" alt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uLnTx/>
              <a:uFillTx/>
              <a:latin typeface="+mj-ea"/>
              <a:ea typeface="+mj-ea"/>
              <a:cs typeface="Calibri" panose="020F0502020204030204"/>
              <a:sym typeface="Calibri" panose="020F0502020204030204"/>
            </a:endParaRPr>
          </a:p>
          <a:p>
            <a:pPr marL="1242695" marR="0" lvl="2" indent="-171450" defTabSz="914400" rtl="0" eaLnBrk="1" fontAlgn="auto" latinLnBrk="0" hangingPunct="1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SzPts val="1250"/>
              <a:buFont typeface="Arial" panose="020B0604020202020204" pitchFamily="34" charset="0"/>
              <a:buChar char="•"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+mj-ea"/>
                <a:ea typeface="+mj-ea"/>
                <a:cs typeface="Calibri" panose="020F0502020204030204"/>
                <a:sym typeface="Calibri" panose="020F0502020204030204"/>
              </a:rPr>
              <a:t>Flashback </a:t>
            </a: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+mj-ea"/>
                <a:ea typeface="+mj-ea"/>
                <a:cs typeface="Calibri" panose="020F0502020204030204"/>
                <a:sym typeface="Calibri" panose="020F0502020204030204"/>
              </a:rPr>
              <a:t>查询实现问题</a:t>
            </a:r>
            <a:br>
              <a: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+mj-ea"/>
                <a:ea typeface="+mj-ea"/>
                <a:cs typeface="Calibri" panose="020F0502020204030204"/>
                <a:sym typeface="Calibri" panose="020F0502020204030204"/>
              </a:rPr>
            </a:br>
            <a:r>
              <a:rPr kumimoji="0" lang="en-US" altLang="zh-CN" sz="11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+mj-ea"/>
                <a:ea typeface="+mj-ea"/>
                <a:cs typeface="Calibri" panose="020F0502020204030204"/>
                <a:sym typeface="Calibri" panose="020F0502020204030204"/>
              </a:rPr>
              <a:t>https://www.postgresql.org/message-id/a1a7e45b-1d16-5e06-5d64-a8a59c1514ec@postgrespro.ru</a:t>
            </a:r>
            <a:endParaRPr kumimoji="0" lang="zh-CN" alt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uLnTx/>
              <a:uFillTx/>
              <a:latin typeface="+mj-ea"/>
              <a:ea typeface="+mj-ea"/>
              <a:cs typeface="Calibri" panose="020F0502020204030204"/>
              <a:sym typeface="Calibri" panose="020F0502020204030204"/>
            </a:endParaRPr>
          </a:p>
          <a:p>
            <a:pPr marL="1242695" marR="0" lvl="2" indent="-171450" defTabSz="914400" rtl="0" eaLnBrk="1" fontAlgn="auto" latinLnBrk="0" hangingPunct="1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SzPts val="1250"/>
              <a:buFont typeface="Arial" panose="020B0604020202020204" pitchFamily="34" charset="0"/>
              <a:buChar char="•"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+mj-ea"/>
                <a:ea typeface="+mj-ea"/>
                <a:cs typeface="Calibri" panose="020F0502020204030204"/>
                <a:sym typeface="Calibri" panose="020F0502020204030204"/>
              </a:rPr>
              <a:t>Rum</a:t>
            </a: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+mj-ea"/>
                <a:ea typeface="+mj-ea"/>
                <a:cs typeface="Calibri" panose="020F0502020204030204"/>
                <a:sym typeface="Calibri" panose="020F0502020204030204"/>
              </a:rPr>
              <a:t>中</a:t>
            </a:r>
            <a:r>
              <a:rPr kumimoji="0" lang="en-US" altLang="zh-CN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uLnTx/>
                <a:uFillTx/>
                <a:latin typeface="+mj-ea"/>
                <a:ea typeface="+mj-ea"/>
                <a:cs typeface="Calibri" panose="020F0502020204030204"/>
                <a:sym typeface="Calibri" panose="020F0502020204030204"/>
              </a:rPr>
              <a:t>genericxlog</a:t>
            </a: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+mj-ea"/>
                <a:ea typeface="+mj-ea"/>
                <a:cs typeface="Calibri" panose="020F0502020204030204"/>
                <a:sym typeface="Calibri" panose="020F0502020204030204"/>
              </a:rPr>
              <a:t> 问题</a:t>
            </a:r>
            <a:br>
              <a: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+mj-ea"/>
                <a:ea typeface="+mj-ea"/>
                <a:cs typeface="Calibri" panose="020F0502020204030204"/>
                <a:sym typeface="Calibri" panose="020F0502020204030204"/>
              </a:rPr>
            </a:br>
            <a:r>
              <a:rPr kumimoji="0" lang="en-US" altLang="zh-CN" sz="11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+mj-ea"/>
                <a:ea typeface="+mj-ea"/>
                <a:cs typeface="Calibri" panose="020F0502020204030204"/>
                <a:sym typeface="Calibri" panose="020F0502020204030204"/>
              </a:rPr>
              <a:t>https://github.com/postgrespro/rum/issues/46</a:t>
            </a:r>
            <a:endParaRPr kumimoji="0" lang="zh-CN" alt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uLnTx/>
              <a:uFillTx/>
              <a:latin typeface="+mj-ea"/>
              <a:ea typeface="+mj-ea"/>
              <a:cs typeface="Calibri" panose="020F0502020204030204"/>
              <a:sym typeface="Calibri" panose="020F0502020204030204"/>
            </a:endParaRPr>
          </a:p>
          <a:p>
            <a:pPr marL="1242695" marR="0" lvl="2" indent="-171450" defTabSz="914400" rtl="0" eaLnBrk="1" fontAlgn="auto" latinLnBrk="0" hangingPunct="1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SzPts val="1250"/>
              <a:buFont typeface="Arial" panose="020B0604020202020204" pitchFamily="34" charset="0"/>
              <a:buChar char="•"/>
              <a:defRPr/>
            </a:pP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+mj-ea"/>
                <a:ea typeface="+mj-ea"/>
                <a:cs typeface="Calibri" panose="020F0502020204030204"/>
                <a:sym typeface="Calibri" panose="020F0502020204030204"/>
              </a:rPr>
              <a:t>快速升级问题</a:t>
            </a:r>
            <a:br>
              <a: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+mj-ea"/>
                <a:ea typeface="+mj-ea"/>
                <a:cs typeface="Calibri" panose="020F0502020204030204"/>
                <a:sym typeface="Calibri" panose="020F0502020204030204"/>
              </a:rPr>
            </a:br>
            <a:r>
              <a:rPr kumimoji="0" lang="en-US" altLang="zh-CN" sz="11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+mj-ea"/>
                <a:ea typeface="+mj-ea"/>
                <a:cs typeface="Calibri" panose="020F0502020204030204"/>
                <a:sym typeface="Calibri" panose="020F0502020204030204"/>
              </a:rPr>
              <a:t>https://github.com/postgrespro/rum/issues/32</a:t>
            </a:r>
            <a:endParaRPr kumimoji="0" lang="en-US" altLang="zh-CN" sz="1100" b="0" i="0" u="sng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uLnTx/>
              <a:uFillTx/>
              <a:latin typeface="+mj-ea"/>
              <a:ea typeface="+mj-ea"/>
              <a:cs typeface="Calibri" panose="020F0502020204030204"/>
              <a:sym typeface="Calibri" panose="020F0502020204030204"/>
            </a:endParaRPr>
          </a:p>
          <a:p>
            <a:pPr marL="1242695" marR="0" lvl="2" indent="-171450" defTabSz="914400" rtl="0" eaLnBrk="1" fontAlgn="auto" latinLnBrk="0" hangingPunct="1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SzPts val="1250"/>
              <a:buFont typeface="Arial" panose="020B0604020202020204" pitchFamily="34" charset="0"/>
              <a:buChar char="•"/>
              <a:defRPr/>
            </a:pP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+mj-ea"/>
                <a:ea typeface="+mj-ea"/>
                <a:cs typeface="Calibri" panose="020F0502020204030204"/>
                <a:sym typeface="+mn-ea"/>
              </a:rPr>
              <a:t>当值的长度大于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+mj-ea"/>
                <a:ea typeface="+mj-ea"/>
                <a:cs typeface="Calibri" panose="020F0502020204030204"/>
                <a:sym typeface="+mn-ea"/>
              </a:rPr>
              <a:t>512M</a:t>
            </a: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+mj-ea"/>
                <a:ea typeface="+mj-ea"/>
                <a:cs typeface="Calibri" panose="020F0502020204030204"/>
                <a:sym typeface="+mn-ea"/>
              </a:rPr>
              <a:t>时，</a:t>
            </a:r>
            <a:r>
              <a:rPr kumimoji="0" lang="en-US" altLang="zh-CN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uLnTx/>
                <a:uFillTx/>
                <a:latin typeface="+mj-ea"/>
                <a:ea typeface="+mj-ea"/>
                <a:cs typeface="Calibri" panose="020F0502020204030204"/>
                <a:sym typeface="+mn-ea"/>
              </a:rPr>
              <a:t>bytea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+mj-ea"/>
                <a:ea typeface="+mj-ea"/>
                <a:cs typeface="Calibri" panose="020F0502020204030204"/>
                <a:sym typeface="+mn-ea"/>
              </a:rPr>
              <a:t> </a:t>
            </a: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+mj-ea"/>
                <a:ea typeface="+mj-ea"/>
                <a:cs typeface="Calibri" panose="020F0502020204030204"/>
                <a:sym typeface="+mn-ea"/>
              </a:rPr>
              <a:t>类型列选择失败</a:t>
            </a:r>
            <a:br>
              <a: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+mj-ea"/>
                <a:ea typeface="+mj-ea"/>
                <a:cs typeface="Calibri" panose="020F0502020204030204"/>
                <a:sym typeface="+mn-ea"/>
              </a:rPr>
            </a:br>
            <a:r>
              <a:rPr kumimoji="0" lang="en-US" altLang="zh-CN" sz="11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+mj-ea"/>
                <a:ea typeface="+mj-ea"/>
                <a:cs typeface="Calibri" panose="020F0502020204030204"/>
                <a:sym typeface="+mn-ea"/>
              </a:rPr>
              <a:t>https://www.postgresql.org/message-id/15503-0ea185f3f6ad9b99@postgresql.org</a:t>
            </a:r>
            <a:r>
              <a: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+mj-ea"/>
                <a:ea typeface="+mj-ea"/>
                <a:cs typeface="Calibri" panose="020F0502020204030204"/>
                <a:sym typeface="+mn-ea"/>
              </a:rPr>
              <a:t> </a:t>
            </a:r>
            <a:endParaRPr kumimoji="0" lang="zh-CN" alt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uLnTx/>
              <a:uFillTx/>
              <a:latin typeface="+mj-ea"/>
              <a:ea typeface="+mj-ea"/>
              <a:cs typeface="Calibri" panose="020F0502020204030204"/>
              <a:sym typeface="Calibri" panose="020F0502020204030204"/>
            </a:endParaRPr>
          </a:p>
          <a:p>
            <a:pPr marL="1242695" marR="0" lvl="2" indent="-171450" defTabSz="914400" rtl="0" eaLnBrk="1" fontAlgn="auto" latinLnBrk="0" hangingPunct="1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SzPts val="1250"/>
              <a:buFont typeface="Arial" panose="020B0604020202020204" pitchFamily="34" charset="0"/>
              <a:buChar char="•"/>
              <a:defRPr/>
            </a:pPr>
            <a:endParaRPr kumimoji="0" lang="zh-CN" alt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uLnTx/>
              <a:uFillTx/>
              <a:latin typeface="+mj-ea"/>
              <a:ea typeface="+mj-ea"/>
              <a:cs typeface="Calibri" panose="020F0502020204030204"/>
              <a:sym typeface="Calibri" panose="020F0502020204030204"/>
            </a:endParaRPr>
          </a:p>
          <a:p>
            <a:pPr marL="723900" marR="0" lvl="1" indent="-171450" defTabSz="914400" rtl="0" eaLnBrk="1" fontAlgn="auto" latinLnBrk="0" hangingPunct="1">
              <a:lnSpc>
                <a:spcPct val="70000"/>
              </a:lnSpc>
              <a:spcBef>
                <a:spcPts val="500"/>
              </a:spcBef>
              <a:spcAft>
                <a:spcPts val="0"/>
              </a:spcAft>
              <a:buClrTx/>
              <a:buSzPts val="1500"/>
              <a:buFont typeface="Arial" panose="020B0604020202020204" pitchFamily="34" charset="0"/>
              <a:buChar char="•"/>
              <a:defRPr/>
            </a:pPr>
            <a:endParaRPr kumimoji="0" lang="zh-CN" alt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uLnTx/>
              <a:uFillTx/>
              <a:latin typeface="+mj-ea"/>
              <a:ea typeface="+mj-ea"/>
              <a:cs typeface="Calibri" panose="020F0502020204030204"/>
              <a:sym typeface="Calibri" panose="020F0502020204030204"/>
            </a:endParaRPr>
          </a:p>
          <a:p>
            <a:pPr marL="723900" marR="0" lvl="1" indent="-171450" defTabSz="914400" rtl="0" eaLnBrk="1" fontAlgn="auto" latinLnBrk="0" hangingPunct="1">
              <a:lnSpc>
                <a:spcPct val="70000"/>
              </a:lnSpc>
              <a:spcBef>
                <a:spcPts val="500"/>
              </a:spcBef>
              <a:spcAft>
                <a:spcPts val="0"/>
              </a:spcAft>
              <a:buClrTx/>
              <a:buSzPts val="1500"/>
              <a:buFont typeface="Arial" panose="020B0604020202020204" pitchFamily="34" charset="0"/>
              <a:buChar char="•"/>
              <a:defRPr/>
            </a:pPr>
            <a:endParaRPr kumimoji="0" lang="zh-CN" alt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uLnTx/>
              <a:uFillTx/>
              <a:latin typeface="+mj-ea"/>
              <a:ea typeface="+mj-ea"/>
              <a:cs typeface="Calibri" panose="020F0502020204030204"/>
              <a:sym typeface="Calibri" panose="020F0502020204030204"/>
            </a:endParaRPr>
          </a:p>
          <a:p>
            <a:pPr marL="723900" marR="0" lvl="1" indent="-171450" defTabSz="914400" rtl="0" eaLnBrk="1" fontAlgn="auto" latinLnBrk="0" hangingPunct="1">
              <a:lnSpc>
                <a:spcPct val="70000"/>
              </a:lnSpc>
              <a:spcBef>
                <a:spcPts val="500"/>
              </a:spcBef>
              <a:spcAft>
                <a:spcPts val="0"/>
              </a:spcAft>
              <a:buClrTx/>
              <a:buSzPts val="1500"/>
              <a:buFont typeface="Arial" panose="020B0604020202020204" pitchFamily="34" charset="0"/>
              <a:buChar char="•"/>
              <a:defRPr/>
            </a:pPr>
            <a:endParaRPr kumimoji="0" lang="zh-CN" alt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uLnTx/>
              <a:uFillTx/>
              <a:latin typeface="+mj-ea"/>
              <a:ea typeface="+mj-ea"/>
              <a:cs typeface="Calibri" panose="020F0502020204030204"/>
              <a:sym typeface="Calibri" panose="020F0502020204030204"/>
            </a:endParaRPr>
          </a:p>
          <a:p>
            <a:pPr marL="723900" marR="0" lvl="1" indent="-171450" defTabSz="914400" rtl="0" eaLnBrk="1" fontAlgn="auto" latinLnBrk="0" hangingPunct="1">
              <a:lnSpc>
                <a:spcPct val="70000"/>
              </a:lnSpc>
              <a:spcBef>
                <a:spcPts val="500"/>
              </a:spcBef>
              <a:spcAft>
                <a:spcPts val="0"/>
              </a:spcAft>
              <a:buClrTx/>
              <a:buSzPts val="1500"/>
              <a:buFont typeface="Arial" panose="020B0604020202020204" pitchFamily="34" charset="0"/>
              <a:buChar char="•"/>
              <a:defRPr/>
            </a:pPr>
            <a:endParaRPr kumimoji="0" lang="zh-CN" alt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uLnTx/>
              <a:uFillTx/>
              <a:latin typeface="+mj-ea"/>
              <a:ea typeface="+mj-ea"/>
              <a:cs typeface="Calibri" panose="020F0502020204030204"/>
              <a:sym typeface="Calibri" panose="020F0502020204030204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本框 16"/>
          <p:cNvSpPr txBox="1"/>
          <p:nvPr/>
        </p:nvSpPr>
        <p:spPr>
          <a:xfrm>
            <a:off x="669923" y="915745"/>
            <a:ext cx="10850565" cy="628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3200" b="1" dirty="0">
                <a:latin typeface="+mj-lt"/>
                <a:ea typeface="+mj-ea"/>
              </a:rPr>
              <a:t>国际交流合作</a:t>
            </a:r>
            <a:endParaRPr lang="zh-CN" altLang="en-US" sz="3200" b="1" dirty="0">
              <a:latin typeface="+mj-lt"/>
              <a:ea typeface="+mj-ea"/>
            </a:endParaRPr>
          </a:p>
        </p:txBody>
      </p:sp>
      <p:sp>
        <p:nvSpPr>
          <p:cNvPr id="7" name="Google Shape;202;p7"/>
          <p:cNvSpPr txBox="1">
            <a:spLocks noGrp="1"/>
          </p:cNvSpPr>
          <p:nvPr/>
        </p:nvSpPr>
        <p:spPr>
          <a:xfrm>
            <a:off x="251460" y="1857375"/>
            <a:ext cx="6134100" cy="37433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noAutofit/>
            <a:scene3d>
              <a:camera prst="orthographicFront"/>
              <a:lightRig rig="threePt" dir="t"/>
            </a:scene3d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609600" marR="0" lvl="0" indent="-541655" algn="l" rtl="0" eaLnBrk="1" hangingPunct="1">
              <a:lnSpc>
                <a:spcPct val="90000"/>
              </a:lnSpc>
              <a:spcBef>
                <a:spcPts val="1335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 panose="020B0604020202020204"/>
              <a:buChar char="•"/>
              <a:defRPr sz="3735" b="0" i="0" u="none" strike="noStrike" cap="none">
                <a:solidFill>
                  <a:schemeClr val="bg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marL="1219200" marR="0" lvl="1" indent="-508000" algn="l" rtl="0" eaLnBrk="1" hangingPunct="1">
              <a:lnSpc>
                <a:spcPct val="90000"/>
              </a:lnSpc>
              <a:spcBef>
                <a:spcPts val="66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 panose="020B0604020202020204"/>
              <a:buChar char="•"/>
              <a:defRPr sz="32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L="1828800" marR="0" lvl="2" indent="-474345" algn="l" rtl="0" eaLnBrk="1" hangingPunct="1">
              <a:lnSpc>
                <a:spcPct val="90000"/>
              </a:lnSpc>
              <a:spcBef>
                <a:spcPts val="66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 panose="020B0604020202020204"/>
              <a:buChar char="•"/>
              <a:defRPr sz="2665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L="2438400" marR="0" lvl="3" indent="-457200" algn="l" rtl="0" eaLnBrk="1" hangingPunct="1">
              <a:lnSpc>
                <a:spcPct val="90000"/>
              </a:lnSpc>
              <a:spcBef>
                <a:spcPts val="66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24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L="3048000" marR="0" lvl="4" indent="-457200" algn="l" rtl="0" eaLnBrk="1" hangingPunct="1">
              <a:lnSpc>
                <a:spcPct val="90000"/>
              </a:lnSpc>
              <a:spcBef>
                <a:spcPts val="66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24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L="3657600" marR="0" lvl="5" indent="-457200" algn="l" rtl="0" eaLnBrk="1" hangingPunct="1">
              <a:lnSpc>
                <a:spcPct val="90000"/>
              </a:lnSpc>
              <a:spcBef>
                <a:spcPts val="66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24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L="4267200" marR="0" lvl="6" indent="-457200" algn="l" rtl="0" eaLnBrk="1" hangingPunct="1">
              <a:lnSpc>
                <a:spcPct val="90000"/>
              </a:lnSpc>
              <a:spcBef>
                <a:spcPts val="66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24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L="4876800" marR="0" lvl="7" indent="-457200" algn="l" rtl="0" eaLnBrk="1" hangingPunct="1">
              <a:lnSpc>
                <a:spcPct val="90000"/>
              </a:lnSpc>
              <a:spcBef>
                <a:spcPts val="66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24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L="5486400" marR="0" lvl="8" indent="-457200" algn="l" rtl="0" eaLnBrk="1" hangingPunct="1">
              <a:lnSpc>
                <a:spcPct val="90000"/>
              </a:lnSpc>
              <a:spcBef>
                <a:spcPts val="66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24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pPr marL="457200" lvl="1" indent="0">
              <a:lnSpc>
                <a:spcPct val="120000"/>
              </a:lnSpc>
              <a:spcBef>
                <a:spcPts val="500"/>
              </a:spcBef>
              <a:buClrTx/>
              <a:buSzPts val="1320"/>
              <a:buNone/>
            </a:pPr>
            <a:r>
              <a:rPr lang="en-US" altLang="zh-CN" sz="1100" b="1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</a:rPr>
              <a:t>PostGIS</a:t>
            </a:r>
            <a:endParaRPr sz="1100" b="1" dirty="0">
              <a:solidFill>
                <a:srgbClr val="000000"/>
              </a:solidFill>
              <a:latin typeface="+mj-ea"/>
              <a:ea typeface="+mj-ea"/>
              <a:cs typeface="宋体" panose="02010600030101010101" pitchFamily="2" charset="-122"/>
            </a:endParaRPr>
          </a:p>
          <a:p>
            <a:pPr marL="1143000" lvl="2" indent="-228600">
              <a:lnSpc>
                <a:spcPct val="120000"/>
              </a:lnSpc>
              <a:spcBef>
                <a:spcPts val="500"/>
              </a:spcBef>
              <a:buClrTx/>
              <a:buSzPts val="1100"/>
            </a:pPr>
            <a:r>
              <a:rPr lang="zh-CN" altLang="en-US" sz="1000" b="1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</a:rPr>
              <a:t>升级路径问题</a:t>
            </a:r>
            <a:br>
              <a:rPr lang="zh-CN" altLang="en-US" sz="900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</a:rPr>
            </a:br>
            <a:r>
              <a:rPr lang="en-US" altLang="zh-CN" sz="900" u="sng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</a:rPr>
              <a:t>https://trac.osgeo.org/postgis/ticket/3926</a:t>
            </a:r>
            <a:r>
              <a:rPr lang="zh-CN" altLang="en-US" sz="900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</a:rPr>
              <a:t> </a:t>
            </a:r>
            <a:endParaRPr sz="900" dirty="0">
              <a:solidFill>
                <a:srgbClr val="000000"/>
              </a:solidFill>
              <a:latin typeface="+mj-ea"/>
              <a:ea typeface="+mj-ea"/>
              <a:cs typeface="宋体" panose="02010600030101010101" pitchFamily="2" charset="-122"/>
            </a:endParaRPr>
          </a:p>
          <a:p>
            <a:pPr marL="457200" lvl="1" indent="0">
              <a:lnSpc>
                <a:spcPct val="120000"/>
              </a:lnSpc>
              <a:spcBef>
                <a:spcPts val="500"/>
              </a:spcBef>
              <a:buClrTx/>
              <a:buSzPts val="1320"/>
              <a:buNone/>
            </a:pPr>
            <a:r>
              <a:rPr lang="en-US" altLang="zh-CN" sz="1100" b="1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</a:rPr>
              <a:t>PGAdmin</a:t>
            </a:r>
            <a:endParaRPr sz="1100" b="1" dirty="0">
              <a:solidFill>
                <a:srgbClr val="000000"/>
              </a:solidFill>
              <a:latin typeface="+mj-ea"/>
              <a:ea typeface="+mj-ea"/>
              <a:cs typeface="宋体" panose="02010600030101010101" pitchFamily="2" charset="-122"/>
            </a:endParaRPr>
          </a:p>
          <a:p>
            <a:pPr marL="1143000" lvl="2" indent="-228600">
              <a:lnSpc>
                <a:spcPct val="120000"/>
              </a:lnSpc>
              <a:spcBef>
                <a:spcPts val="500"/>
              </a:spcBef>
              <a:buClrTx/>
              <a:buSzPts val="1100"/>
            </a:pPr>
            <a:r>
              <a:rPr lang="zh-CN" altLang="en-US" sz="1000" b="1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</a:rPr>
              <a:t>程序恢复错误</a:t>
            </a:r>
            <a:br>
              <a:rPr lang="zh-CN" altLang="en-US" sz="900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</a:rPr>
            </a:br>
            <a:r>
              <a:rPr lang="en-US" altLang="zh-CN" sz="900" u="sng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</a:rPr>
              <a:t>https://www.postgresql.org/message-id/1451463249999-5879508.post@n5.nabble.com</a:t>
            </a:r>
            <a:endParaRPr sz="900" u="sng" dirty="0">
              <a:solidFill>
                <a:srgbClr val="000000"/>
              </a:solidFill>
              <a:latin typeface="+mj-ea"/>
              <a:ea typeface="+mj-ea"/>
              <a:cs typeface="宋体" panose="02010600030101010101" pitchFamily="2" charset="-122"/>
            </a:endParaRPr>
          </a:p>
          <a:p>
            <a:pPr marL="1143000" lvl="2" indent="-228600">
              <a:lnSpc>
                <a:spcPct val="120000"/>
              </a:lnSpc>
              <a:spcBef>
                <a:spcPts val="500"/>
              </a:spcBef>
              <a:buClrTx/>
              <a:buSzPts val="1100"/>
            </a:pPr>
            <a:r>
              <a:rPr lang="zh-CN" altLang="en-US" sz="1000" b="1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</a:rPr>
              <a:t>字段信息错误</a:t>
            </a:r>
            <a:br>
              <a:rPr lang="zh-CN" altLang="en-US" sz="900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</a:rPr>
            </a:br>
            <a:r>
              <a:rPr lang="en-US" altLang="zh-CN" sz="900" u="sng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</a:rPr>
              <a:t>https://www.postgresql.org/message-id/E1ZpZNV-0006h2-NO@gothos.postgresql.org</a:t>
            </a:r>
            <a:endParaRPr sz="900" u="sng" dirty="0">
              <a:solidFill>
                <a:srgbClr val="000000"/>
              </a:solidFill>
              <a:latin typeface="+mj-ea"/>
              <a:ea typeface="+mj-ea"/>
              <a:cs typeface="宋体" panose="02010600030101010101" pitchFamily="2" charset="-122"/>
            </a:endParaRPr>
          </a:p>
          <a:p>
            <a:pPr marL="1143000" lvl="2" indent="-228600">
              <a:lnSpc>
                <a:spcPct val="120000"/>
              </a:lnSpc>
              <a:spcBef>
                <a:spcPts val="500"/>
              </a:spcBef>
              <a:buClrTx/>
              <a:buSzPts val="1100"/>
            </a:pPr>
            <a:r>
              <a:rPr lang="zh-CN" altLang="en-US" sz="1000" b="1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</a:rPr>
              <a:t>错误提示问题</a:t>
            </a:r>
            <a:br>
              <a:rPr lang="zh-CN" altLang="en-US" sz="900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</a:rPr>
            </a:br>
            <a:r>
              <a:rPr lang="en-US" altLang="zh-CN" sz="900" u="sng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</a:rPr>
              <a:t>https://www.postgresql.org/message-id/20070321183955.B84A.QUANZONGLIANG@gmail.com</a:t>
            </a:r>
            <a:endParaRPr sz="900" dirty="0">
              <a:solidFill>
                <a:srgbClr val="000000"/>
              </a:solidFill>
              <a:latin typeface="+mj-ea"/>
              <a:ea typeface="+mj-ea"/>
              <a:cs typeface="宋体" panose="02010600030101010101" pitchFamily="2" charset="-122"/>
            </a:endParaRPr>
          </a:p>
          <a:p>
            <a:pPr marL="1143000" lvl="2" indent="-228600">
              <a:lnSpc>
                <a:spcPct val="120000"/>
              </a:lnSpc>
              <a:spcBef>
                <a:spcPts val="500"/>
              </a:spcBef>
              <a:buClrTx/>
              <a:buSzPts val="1100"/>
            </a:pPr>
            <a:r>
              <a:rPr lang="zh-CN" altLang="en-US" sz="1000" b="1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</a:rPr>
              <a:t>空字符串和表达式问题</a:t>
            </a:r>
            <a:br>
              <a:rPr lang="zh-CN" altLang="en-US" sz="900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</a:rPr>
            </a:br>
            <a:r>
              <a:rPr lang="en-US" altLang="zh-CN" sz="900" u="sng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</a:rPr>
              <a:t>https://www.postgresql.org/message-id/20090226144315.2194.4125B4E5@gmail.com</a:t>
            </a:r>
            <a:endParaRPr sz="900" dirty="0">
              <a:solidFill>
                <a:srgbClr val="000000"/>
              </a:solidFill>
              <a:latin typeface="+mj-ea"/>
              <a:ea typeface="+mj-ea"/>
              <a:cs typeface="宋体" panose="02010600030101010101" pitchFamily="2" charset="-122"/>
            </a:endParaRPr>
          </a:p>
          <a:p>
            <a:pPr marL="1143000" lvl="2" indent="-228600">
              <a:lnSpc>
                <a:spcPct val="120000"/>
              </a:lnSpc>
              <a:spcBef>
                <a:spcPts val="500"/>
              </a:spcBef>
              <a:buClrTx/>
              <a:buSzPts val="1100"/>
            </a:pPr>
            <a:r>
              <a:rPr lang="zh-CN" altLang="en-US" sz="1000" b="1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</a:rPr>
              <a:t>文件类型错误</a:t>
            </a:r>
            <a:br>
              <a:rPr lang="zh-CN" altLang="en-US" sz="900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</a:rPr>
            </a:br>
            <a:r>
              <a:rPr lang="en-US" altLang="zh-CN" sz="900" u="sng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</a:rPr>
              <a:t>https://www.postgresql.org/message-id/20091220171034.1002.4125B4E5@gmail.com</a:t>
            </a:r>
            <a:endParaRPr sz="900" dirty="0">
              <a:solidFill>
                <a:srgbClr val="000000"/>
              </a:solidFill>
              <a:latin typeface="+mj-ea"/>
              <a:ea typeface="+mj-ea"/>
              <a:cs typeface="宋体" panose="02010600030101010101" pitchFamily="2" charset="-122"/>
            </a:endParaRPr>
          </a:p>
          <a:p>
            <a:pPr marL="1143000" lvl="2" indent="-228600">
              <a:lnSpc>
                <a:spcPct val="120000"/>
              </a:lnSpc>
              <a:spcBef>
                <a:spcPts val="500"/>
              </a:spcBef>
              <a:buClrTx/>
              <a:buSzPts val="1100"/>
            </a:pPr>
            <a:r>
              <a:rPr lang="en-US" altLang="zh-CN" sz="1000" b="1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</a:rPr>
              <a:t>wxODBC </a:t>
            </a:r>
            <a:r>
              <a:rPr lang="zh-CN" altLang="en-US" sz="1000" b="1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</a:rPr>
              <a:t>问题</a:t>
            </a:r>
            <a:br>
              <a:rPr lang="zh-CN" altLang="en-US" sz="900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</a:rPr>
            </a:br>
            <a:r>
              <a:rPr lang="en-US" altLang="zh-CN" sz="900" u="sng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</a:rPr>
              <a:t>https://www.postgresql.org/message-id/20090220115741.F36A.4125B4E5@gmail.com</a:t>
            </a:r>
            <a:endParaRPr lang="en-US" altLang="zh-CN" sz="900" u="sng" dirty="0">
              <a:solidFill>
                <a:srgbClr val="000000"/>
              </a:solidFill>
              <a:latin typeface="+mj-ea"/>
              <a:ea typeface="+mj-ea"/>
              <a:cs typeface="宋体" panose="02010600030101010101" pitchFamily="2" charset="-122"/>
            </a:endParaRPr>
          </a:p>
        </p:txBody>
      </p:sp>
      <p:sp>
        <p:nvSpPr>
          <p:cNvPr id="8" name="Google Shape;203;p7"/>
          <p:cNvSpPr txBox="1"/>
          <p:nvPr/>
        </p:nvSpPr>
        <p:spPr>
          <a:xfrm>
            <a:off x="6650355" y="1163955"/>
            <a:ext cx="5183505" cy="49472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  <a:scene3d>
              <a:camera prst="orthographicFront"/>
              <a:lightRig rig="threePt" dir="t"/>
            </a:scene3d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228600" indent="-228600" eaLnBrk="1" hangingPunct="1">
              <a:lnSpc>
                <a:spcPct val="70000"/>
              </a:lnSpc>
              <a:buClr>
                <a:schemeClr val="bg1"/>
              </a:buClr>
              <a:buSzPts val="1540"/>
              <a:buChar char="•"/>
              <a:defRPr sz="1800">
                <a:solidFill>
                  <a:schemeClr val="bg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marL="685800" indent="-228600" eaLnBrk="1" hangingPunct="1">
              <a:lnSpc>
                <a:spcPct val="70000"/>
              </a:lnSpc>
              <a:spcBef>
                <a:spcPts val="500"/>
              </a:spcBef>
              <a:buClr>
                <a:schemeClr val="bg1"/>
              </a:buClr>
              <a:buSzPts val="1320"/>
              <a:buChar char="•"/>
              <a:defRPr sz="1600">
                <a:solidFill>
                  <a:schemeClr val="bg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L="1143000" indent="-228600" eaLnBrk="1" hangingPunct="1">
              <a:lnSpc>
                <a:spcPct val="70000"/>
              </a:lnSpc>
              <a:spcBef>
                <a:spcPts val="500"/>
              </a:spcBef>
              <a:buClr>
                <a:schemeClr val="bg1"/>
              </a:buClr>
              <a:buSzPts val="1100"/>
              <a:buChar char="•"/>
              <a:defRPr>
                <a:solidFill>
                  <a:schemeClr val="bg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L="2438400" indent="-457200" eaLnBrk="1" hangingPunct="1">
              <a:lnSpc>
                <a:spcPct val="90000"/>
              </a:lnSpc>
              <a:spcBef>
                <a:spcPts val="665"/>
              </a:spcBef>
              <a:buClr>
                <a:schemeClr val="dk1"/>
              </a:buClr>
              <a:buSzPts val="1800"/>
              <a:buChar char="•"/>
              <a:defRPr sz="2400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L="3048000" indent="-457200" eaLnBrk="1" hangingPunct="1">
              <a:lnSpc>
                <a:spcPct val="90000"/>
              </a:lnSpc>
              <a:spcBef>
                <a:spcPts val="665"/>
              </a:spcBef>
              <a:buClr>
                <a:schemeClr val="dk1"/>
              </a:buClr>
              <a:buSzPts val="1800"/>
              <a:buChar char="•"/>
              <a:defRPr sz="2400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L="3657600" indent="-457200" eaLnBrk="1" hangingPunct="1">
              <a:lnSpc>
                <a:spcPct val="90000"/>
              </a:lnSpc>
              <a:spcBef>
                <a:spcPts val="665"/>
              </a:spcBef>
              <a:buClr>
                <a:schemeClr val="dk1"/>
              </a:buClr>
              <a:buSzPts val="1800"/>
              <a:buChar char="•"/>
              <a:defRPr sz="2400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L="4267200" indent="-457200" eaLnBrk="1" hangingPunct="1">
              <a:lnSpc>
                <a:spcPct val="90000"/>
              </a:lnSpc>
              <a:spcBef>
                <a:spcPts val="665"/>
              </a:spcBef>
              <a:buClr>
                <a:schemeClr val="dk1"/>
              </a:buClr>
              <a:buSzPts val="1800"/>
              <a:buChar char="•"/>
              <a:defRPr sz="2400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L="4876800" indent="-457200" eaLnBrk="1" hangingPunct="1">
              <a:lnSpc>
                <a:spcPct val="90000"/>
              </a:lnSpc>
              <a:spcBef>
                <a:spcPts val="665"/>
              </a:spcBef>
              <a:buClr>
                <a:schemeClr val="dk1"/>
              </a:buClr>
              <a:buSzPts val="1800"/>
              <a:buChar char="•"/>
              <a:defRPr sz="2400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L="5486400" indent="-457200" eaLnBrk="1" hangingPunct="1">
              <a:lnSpc>
                <a:spcPct val="90000"/>
              </a:lnSpc>
              <a:spcBef>
                <a:spcPts val="665"/>
              </a:spcBef>
              <a:buClr>
                <a:schemeClr val="dk1"/>
              </a:buClr>
              <a:buSzPts val="1800"/>
              <a:buChar char="•"/>
              <a:defRPr sz="2400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pPr marL="502920" lvl="1" indent="0">
              <a:lnSpc>
                <a:spcPct val="120000"/>
              </a:lnSpc>
              <a:spcBef>
                <a:spcPts val="600"/>
              </a:spcBef>
              <a:buClrTx/>
              <a:buNone/>
            </a:pPr>
            <a:r>
              <a:rPr lang="en-US" altLang="zh-CN" sz="1100" b="1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  <a:sym typeface="Arial" panose="020B0604020202020204"/>
              </a:rPr>
              <a:t>PG RMAN</a:t>
            </a:r>
            <a:endParaRPr sz="1100" b="1" dirty="0">
              <a:solidFill>
                <a:srgbClr val="000000"/>
              </a:solidFill>
              <a:latin typeface="+mj-ea"/>
              <a:ea typeface="+mj-ea"/>
              <a:cs typeface="宋体" panose="02010600030101010101" pitchFamily="2" charset="-122"/>
            </a:endParaRPr>
          </a:p>
          <a:p>
            <a:pPr lvl="2" indent="-182880">
              <a:lnSpc>
                <a:spcPct val="120000"/>
              </a:lnSpc>
              <a:spcBef>
                <a:spcPts val="600"/>
              </a:spcBef>
              <a:buClrTx/>
            </a:pPr>
            <a:r>
              <a:rPr lang="zh-CN" altLang="en-US" sz="1000" b="1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  <a:sym typeface="Arial" panose="020B0604020202020204"/>
              </a:rPr>
              <a:t>可能导致备份大量无用页面的错误</a:t>
            </a:r>
            <a:br>
              <a:rPr lang="zh-CN" altLang="en-US" sz="900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  <a:sym typeface="Arial" panose="020B0604020202020204"/>
              </a:rPr>
            </a:br>
            <a:r>
              <a:rPr lang="en-US" altLang="zh-CN" sz="900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  <a:sym typeface="Arial" panose="020B0604020202020204"/>
              </a:rPr>
              <a:t>https://github.com/ossc-db/pg_rman/issues/76</a:t>
            </a:r>
            <a:endParaRPr sz="900" dirty="0">
              <a:solidFill>
                <a:srgbClr val="000000"/>
              </a:solidFill>
              <a:latin typeface="+mj-ea"/>
              <a:ea typeface="+mj-ea"/>
              <a:cs typeface="宋体" panose="02010600030101010101" pitchFamily="2" charset="-122"/>
              <a:sym typeface="Arial" panose="020B0604020202020204"/>
            </a:endParaRPr>
          </a:p>
          <a:p>
            <a:pPr lvl="2" indent="-182880">
              <a:lnSpc>
                <a:spcPct val="120000"/>
              </a:lnSpc>
              <a:spcBef>
                <a:spcPts val="600"/>
              </a:spcBef>
              <a:buClrTx/>
            </a:pPr>
            <a:r>
              <a:rPr lang="zh-CN" altLang="en-US" sz="1000" b="1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  <a:sym typeface="Arial" panose="020B0604020202020204"/>
              </a:rPr>
              <a:t>从备用状态备份时，恢复后无法启动</a:t>
            </a:r>
            <a:br>
              <a:rPr lang="zh-CN" altLang="en-US" sz="900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  <a:sym typeface="Arial" panose="020B0604020202020204"/>
              </a:rPr>
            </a:br>
            <a:r>
              <a:rPr lang="en-US" altLang="zh-CN" sz="900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  <a:sym typeface="Arial" panose="020B0604020202020204"/>
              </a:rPr>
              <a:t>https://github.com/ossc-db/pg_rman/issues/106</a:t>
            </a:r>
            <a:r>
              <a:rPr lang="zh-CN" altLang="en-US" sz="900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  <a:sym typeface="Arial" panose="020B0604020202020204"/>
              </a:rPr>
              <a:t> </a:t>
            </a:r>
            <a:endParaRPr sz="900" dirty="0">
              <a:solidFill>
                <a:srgbClr val="000000"/>
              </a:solidFill>
              <a:latin typeface="+mj-ea"/>
              <a:ea typeface="+mj-ea"/>
              <a:cs typeface="宋体" panose="02010600030101010101" pitchFamily="2" charset="-122"/>
            </a:endParaRPr>
          </a:p>
          <a:p>
            <a:pPr marL="502920" lvl="1" indent="0">
              <a:lnSpc>
                <a:spcPct val="120000"/>
              </a:lnSpc>
              <a:spcBef>
                <a:spcPts val="600"/>
              </a:spcBef>
              <a:buClrTx/>
              <a:buNone/>
            </a:pPr>
            <a:r>
              <a:rPr lang="en-US" altLang="zh-CN" sz="1100" b="1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  <a:sym typeface="Arial" panose="020B0604020202020204"/>
              </a:rPr>
              <a:t>Repmgr</a:t>
            </a:r>
            <a:endParaRPr sz="1100" b="1" dirty="0">
              <a:solidFill>
                <a:srgbClr val="000000"/>
              </a:solidFill>
              <a:latin typeface="+mj-ea"/>
              <a:ea typeface="+mj-ea"/>
              <a:cs typeface="宋体" panose="02010600030101010101" pitchFamily="2" charset="-122"/>
              <a:sym typeface="Arial" panose="020B0604020202020204"/>
            </a:endParaRPr>
          </a:p>
          <a:p>
            <a:pPr lvl="2" indent="-182880">
              <a:lnSpc>
                <a:spcPct val="120000"/>
              </a:lnSpc>
              <a:spcBef>
                <a:spcPts val="600"/>
              </a:spcBef>
              <a:buClrTx/>
            </a:pPr>
            <a:r>
              <a:rPr lang="zh-CN" altLang="en-US" sz="1000" b="1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  <a:sym typeface="Arial" panose="020B0604020202020204"/>
              </a:rPr>
              <a:t>注销主机未实际注销</a:t>
            </a:r>
            <a:br>
              <a:rPr lang="zh-CN" altLang="en-US" sz="900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  <a:sym typeface="Arial" panose="020B0604020202020204"/>
              </a:rPr>
            </a:br>
            <a:r>
              <a:rPr lang="en-US" altLang="zh-CN" sz="900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  <a:sym typeface="Arial" panose="020B0604020202020204"/>
              </a:rPr>
              <a:t>https://github.com/2ndQuadrant/repmgr/issues/373</a:t>
            </a:r>
            <a:endParaRPr sz="900" dirty="0">
              <a:solidFill>
                <a:srgbClr val="000000"/>
              </a:solidFill>
              <a:latin typeface="+mj-ea"/>
              <a:ea typeface="+mj-ea"/>
              <a:cs typeface="宋体" panose="02010600030101010101" pitchFamily="2" charset="-122"/>
              <a:sym typeface="Arial" panose="020B0604020202020204"/>
            </a:endParaRPr>
          </a:p>
          <a:p>
            <a:pPr lvl="2" indent="-182880">
              <a:lnSpc>
                <a:spcPct val="120000"/>
              </a:lnSpc>
              <a:spcBef>
                <a:spcPts val="600"/>
              </a:spcBef>
              <a:buClrTx/>
            </a:pPr>
            <a:r>
              <a:rPr lang="zh-CN" altLang="en-US" sz="1000" b="1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  <a:sym typeface="Arial" panose="020B0604020202020204"/>
              </a:rPr>
              <a:t>“</a:t>
            </a:r>
            <a:r>
              <a:rPr lang="en-US" altLang="zh-CN" sz="1000" b="1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  <a:sym typeface="Arial" panose="020B0604020202020204"/>
              </a:rPr>
              <a:t>witness register -h witness”</a:t>
            </a:r>
            <a:r>
              <a:rPr lang="zh-CN" altLang="en-US" sz="1000" b="1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  <a:sym typeface="Arial" panose="020B0604020202020204"/>
              </a:rPr>
              <a:t>命令错误插入</a:t>
            </a:r>
            <a:r>
              <a:rPr lang="en-US" altLang="zh-CN" sz="1000" b="1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  <a:sym typeface="Arial" panose="020B0604020202020204"/>
              </a:rPr>
              <a:t>Witness</a:t>
            </a:r>
            <a:br>
              <a:rPr lang="en-US" altLang="zh-CN" sz="1000" b="1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  <a:sym typeface="Arial" panose="020B0604020202020204"/>
              </a:rPr>
            </a:br>
            <a:r>
              <a:rPr lang="en-US" altLang="zh-CN" sz="900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  <a:sym typeface="Arial" panose="020B0604020202020204"/>
              </a:rPr>
              <a:t>https://github.com/2ndQuadrant/repmgr/issues/537</a:t>
            </a:r>
            <a:r>
              <a:rPr lang="zh-CN" altLang="en-US" sz="900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  <a:sym typeface="Arial" panose="020B0604020202020204"/>
              </a:rPr>
              <a:t> </a:t>
            </a:r>
            <a:endParaRPr sz="900" dirty="0">
              <a:solidFill>
                <a:srgbClr val="000000"/>
              </a:solidFill>
              <a:latin typeface="+mj-ea"/>
              <a:ea typeface="+mj-ea"/>
              <a:cs typeface="宋体" panose="02010600030101010101" pitchFamily="2" charset="-122"/>
            </a:endParaRPr>
          </a:p>
          <a:p>
            <a:pPr lvl="2" indent="-182880">
              <a:lnSpc>
                <a:spcPct val="120000"/>
              </a:lnSpc>
              <a:spcBef>
                <a:spcPts val="600"/>
              </a:spcBef>
              <a:buClrTx/>
            </a:pPr>
            <a:r>
              <a:rPr lang="en-US" altLang="zh-CN" sz="1000" b="1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  <a:sym typeface="Arial" panose="020B0604020202020204"/>
              </a:rPr>
              <a:t>Witness </a:t>
            </a:r>
            <a:r>
              <a:rPr lang="zh-CN" altLang="en-US" sz="1000" b="1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  <a:sym typeface="Arial" panose="020B0604020202020204"/>
              </a:rPr>
              <a:t>节点注销主机问题</a:t>
            </a:r>
            <a:br>
              <a:rPr lang="zh-CN" altLang="en-US" sz="900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  <a:sym typeface="Arial" panose="020B0604020202020204"/>
              </a:rPr>
            </a:br>
            <a:r>
              <a:rPr lang="en-US" altLang="zh-CN" sz="900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  <a:sym typeface="Arial" panose="020B0604020202020204"/>
              </a:rPr>
              <a:t>https://github.com/2ndQuadrant/repmgr/issues/548</a:t>
            </a:r>
            <a:endParaRPr sz="900" dirty="0">
              <a:solidFill>
                <a:srgbClr val="000000"/>
              </a:solidFill>
              <a:latin typeface="+mj-ea"/>
              <a:ea typeface="+mj-ea"/>
              <a:cs typeface="宋体" panose="02010600030101010101" pitchFamily="2" charset="-122"/>
              <a:sym typeface="Arial" panose="020B0604020202020204"/>
            </a:endParaRPr>
          </a:p>
          <a:p>
            <a:pPr lvl="2" indent="-182880">
              <a:lnSpc>
                <a:spcPct val="120000"/>
              </a:lnSpc>
              <a:spcBef>
                <a:spcPts val="600"/>
              </a:spcBef>
              <a:buClrTx/>
            </a:pPr>
            <a:r>
              <a:rPr lang="zh-CN" altLang="en-US" sz="1000" b="1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  <a:sym typeface="Arial" panose="020B0604020202020204"/>
              </a:rPr>
              <a:t>“</a:t>
            </a:r>
            <a:r>
              <a:rPr lang="en-US" altLang="zh-CN" sz="1000" b="1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  <a:sym typeface="Arial" panose="020B0604020202020204"/>
              </a:rPr>
              <a:t>standby clone -h witness ”</a:t>
            </a:r>
            <a:r>
              <a:rPr lang="zh-CN" altLang="en-US" sz="1000" b="1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  <a:sym typeface="Arial" panose="020B0604020202020204"/>
              </a:rPr>
              <a:t>错误</a:t>
            </a:r>
            <a:br>
              <a:rPr lang="zh-CN" altLang="en-US" sz="900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  <a:sym typeface="Arial" panose="020B0604020202020204"/>
              </a:rPr>
            </a:br>
            <a:r>
              <a:rPr lang="en-US" altLang="zh-CN" sz="900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  <a:sym typeface="Arial" panose="020B0604020202020204"/>
              </a:rPr>
              <a:t>https://github.com/2ndQuadrant/repmgr/issues/549</a:t>
            </a:r>
            <a:endParaRPr sz="900" dirty="0">
              <a:solidFill>
                <a:srgbClr val="000000"/>
              </a:solidFill>
              <a:latin typeface="+mj-ea"/>
              <a:ea typeface="+mj-ea"/>
              <a:cs typeface="宋体" panose="02010600030101010101" pitchFamily="2" charset="-122"/>
              <a:sym typeface="Arial" panose="020B0604020202020204"/>
            </a:endParaRPr>
          </a:p>
          <a:p>
            <a:pPr lvl="2" indent="-182880">
              <a:lnSpc>
                <a:spcPct val="120000"/>
              </a:lnSpc>
              <a:spcBef>
                <a:spcPts val="600"/>
              </a:spcBef>
              <a:buClrTx/>
            </a:pPr>
            <a:r>
              <a:rPr lang="zh-CN" altLang="en-US" sz="1000" b="1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  <a:sym typeface="Arial" panose="020B0604020202020204"/>
              </a:rPr>
              <a:t>注销主机点描述错误</a:t>
            </a:r>
            <a:br>
              <a:rPr lang="zh-CN" altLang="en-US" sz="900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  <a:sym typeface="Arial" panose="020B0604020202020204"/>
              </a:rPr>
            </a:br>
            <a:r>
              <a:rPr lang="en-US" altLang="zh-CN" sz="900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  <a:sym typeface="Arial" panose="020B0604020202020204"/>
              </a:rPr>
              <a:t>https://github.com/2ndQuadrant/repmgr/issues/396</a:t>
            </a:r>
            <a:endParaRPr sz="900" dirty="0">
              <a:solidFill>
                <a:srgbClr val="000000"/>
              </a:solidFill>
              <a:latin typeface="+mj-ea"/>
              <a:ea typeface="+mj-ea"/>
              <a:cs typeface="宋体" panose="02010600030101010101" pitchFamily="2" charset="-122"/>
              <a:sym typeface="Arial" panose="020B0604020202020204"/>
            </a:endParaRPr>
          </a:p>
          <a:p>
            <a:pPr lvl="2" indent="-182880">
              <a:lnSpc>
                <a:spcPct val="120000"/>
              </a:lnSpc>
              <a:spcBef>
                <a:spcPts val="600"/>
              </a:spcBef>
              <a:buClrTx/>
            </a:pPr>
            <a:r>
              <a:rPr lang="zh-CN" altLang="en-US" sz="1000" b="1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  <a:sym typeface="Arial" panose="020B0604020202020204"/>
              </a:rPr>
              <a:t>多节点同一路径问题</a:t>
            </a:r>
            <a:br>
              <a:rPr lang="zh-CN" altLang="en-US" sz="900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  <a:sym typeface="Arial" panose="020B0604020202020204"/>
              </a:rPr>
            </a:br>
            <a:r>
              <a:rPr lang="en-US" altLang="zh-CN" sz="900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  <a:sym typeface="Arial" panose="020B0604020202020204"/>
              </a:rPr>
              <a:t>https://github.com/2ndQuadrant/repmgr/issues/406</a:t>
            </a:r>
            <a:endParaRPr sz="900" dirty="0">
              <a:solidFill>
                <a:srgbClr val="000000"/>
              </a:solidFill>
              <a:latin typeface="+mj-ea"/>
              <a:ea typeface="+mj-ea"/>
              <a:cs typeface="宋体" panose="02010600030101010101" pitchFamily="2" charset="-122"/>
              <a:sym typeface="Arial" panose="020B0604020202020204"/>
            </a:endParaRPr>
          </a:p>
          <a:p>
            <a:pPr marL="502920" lvl="1" indent="0">
              <a:lnSpc>
                <a:spcPct val="120000"/>
              </a:lnSpc>
              <a:spcBef>
                <a:spcPts val="600"/>
              </a:spcBef>
              <a:buClrTx/>
              <a:buNone/>
            </a:pPr>
            <a:r>
              <a:rPr lang="en-US" altLang="zh-CN" sz="1100" b="1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  <a:sym typeface="Arial" panose="020B0604020202020204"/>
              </a:rPr>
              <a:t>PG_STROM</a:t>
            </a:r>
            <a:endParaRPr sz="1100" b="1" dirty="0">
              <a:solidFill>
                <a:srgbClr val="000000"/>
              </a:solidFill>
              <a:latin typeface="+mj-ea"/>
              <a:ea typeface="+mj-ea"/>
              <a:cs typeface="宋体" panose="02010600030101010101" pitchFamily="2" charset="-122"/>
            </a:endParaRPr>
          </a:p>
          <a:p>
            <a:pPr lvl="2" indent="-182880">
              <a:lnSpc>
                <a:spcPct val="120000"/>
              </a:lnSpc>
              <a:spcBef>
                <a:spcPts val="600"/>
              </a:spcBef>
              <a:buClrTx/>
            </a:pPr>
            <a:r>
              <a:rPr lang="en-US" altLang="zh-CN" sz="1000" b="1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  <a:sym typeface="Arial" panose="020B0604020202020204"/>
              </a:rPr>
              <a:t>nvme_strom</a:t>
            </a:r>
            <a:r>
              <a:rPr lang="zh-CN" altLang="en-US" sz="1000" b="1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  <a:sym typeface="Arial" panose="020B0604020202020204"/>
              </a:rPr>
              <a:t>安装错误</a:t>
            </a:r>
            <a:br>
              <a:rPr lang="zh-CN" altLang="en-US" sz="900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  <a:sym typeface="Arial" panose="020B0604020202020204"/>
              </a:rPr>
            </a:br>
            <a:r>
              <a:rPr lang="en-US" altLang="zh-CN" sz="900" dirty="0">
                <a:solidFill>
                  <a:srgbClr val="000000"/>
                </a:solidFill>
                <a:latin typeface="+mj-ea"/>
                <a:ea typeface="+mj-ea"/>
                <a:cs typeface="宋体" panose="02010600030101010101" pitchFamily="2" charset="-122"/>
                <a:sym typeface="Arial" panose="020B0604020202020204"/>
              </a:rPr>
              <a:t>https://github.com/heterodb/pg-strom/issues/383</a:t>
            </a:r>
            <a:endParaRPr lang="zh-CN" altLang="en-US" sz="900" dirty="0">
              <a:solidFill>
                <a:srgbClr val="000000"/>
              </a:solidFill>
              <a:latin typeface="+mj-ea"/>
              <a:ea typeface="+mj-ea"/>
              <a:cs typeface="宋体" panose="02010600030101010101" pitchFamily="2" charset="-122"/>
              <a:sym typeface="Arial" panose="020B0604020202020204"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ISLIDE.VECTOR" val="#919009;"/>
</p:tagLst>
</file>

<file path=ppt/tags/tag11.xml><?xml version="1.0" encoding="utf-8"?>
<p:tagLst xmlns:p="http://schemas.openxmlformats.org/presentationml/2006/main">
  <p:tag name="ISLIDE.VECTOR" val="#919009;"/>
</p:tagLst>
</file>

<file path=ppt/tags/tag12.xml><?xml version="1.0" encoding="utf-8"?>
<p:tagLst xmlns:p="http://schemas.openxmlformats.org/presentationml/2006/main">
  <p:tag name="ISLIDE.VECTOR" val="#919034;"/>
</p:tagLst>
</file>

<file path=ppt/tags/tag13.xml><?xml version="1.0" encoding="utf-8"?>
<p:tagLst xmlns:p="http://schemas.openxmlformats.org/presentationml/2006/main">
  <p:tag name="ISLIDE.VECTOR" val="#919015;#918963;#919005;"/>
</p:tagLst>
</file>

<file path=ppt/tags/tag14.xml><?xml version="1.0" encoding="utf-8"?>
<p:tagLst xmlns:p="http://schemas.openxmlformats.org/presentationml/2006/main">
  <p:tag name="THINKCELLSHAPEDONOTDELETE" val="thinkcellActiveDocDoNotDelete"/>
</p:tagLst>
</file>

<file path=ppt/tags/tag15.xml><?xml version="1.0" encoding="utf-8"?>
<p:tagLst xmlns:p="http://schemas.openxmlformats.org/presentationml/2006/main">
  <p:tag name="THINKCELLSHAPEDONOTDELETE" val="t1Smkff3fSzGMOuItfjj3Fw"/>
</p:tagLst>
</file>

<file path=ppt/tags/tag16.xml><?xml version="1.0" encoding="utf-8"?>
<p:tagLst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2dc2aa9c-ce34-4e04-ae3b-42745caf7923"/>
  <p:tag name="KSO_WPP_MARK_KEY" val="dbc0a728-54b8-4d45-a80e-c67371d73b0e"/>
  <p:tag name="COMMONDATA" val="eyJoZGlkIjoiYjc0ZDdmMWM3OTFiNzgyYzdkNjI0NDEzNTcyMmVmNmEifQ=="/>
</p:tagLst>
</file>

<file path=ppt/tags/tag2.xml><?xml version="1.0" encoding="utf-8"?>
<p:tagLst xmlns:p="http://schemas.openxmlformats.org/presentationml/2006/main">
  <p:tag name="THINKCELLSHAPEDONOTDELETE" val="tA6S0wzOvQ8a50SA42PUNRg"/>
</p:tagLst>
</file>

<file path=ppt/tags/tag3.xml><?xml version="1.0" encoding="utf-8"?>
<p:tagLst xmlns:p="http://schemas.openxmlformats.org/presentationml/2006/main">
  <p:tag name="ISLIDE.ICON" val="#167564;#179483;#164588;#164226;#13707;#170117;#152590;#92068;#181762;#180557;#159736;#169989;#182021;"/>
</p:tagLst>
</file>

<file path=ppt/tags/tag4.xml><?xml version="1.0" encoding="utf-8"?>
<p:tagLst xmlns:p="http://schemas.openxmlformats.org/presentationml/2006/main">
  <p:tag name="ISLIDE.ICON" val="#384571;#393716;#369442;#369441;#369442;#402664;#178234;#68697;#38703;"/>
</p:tagLst>
</file>

<file path=ppt/tags/tag5.xml><?xml version="1.0" encoding="utf-8"?>
<p:tagLst xmlns:p="http://schemas.openxmlformats.org/presentationml/2006/main">
  <p:tag name="ISLIDE.ICON" val="#384571;#393716;#369442;#369441;#369442;#402664;#178234;#68697;#38703;"/>
</p:tagLst>
</file>

<file path=ppt/tags/tag6.xml><?xml version="1.0" encoding="utf-8"?>
<p:tagLst xmlns:p="http://schemas.openxmlformats.org/presentationml/2006/main">
  <p:tag name="ISLIDE.VECTOR" val="#379208;"/>
</p:tagLst>
</file>

<file path=ppt/tags/tag7.xml><?xml version="1.0" encoding="utf-8"?>
<p:tagLst xmlns:p="http://schemas.openxmlformats.org/presentationml/2006/main">
  <p:tag name="ISLIDE.ICON" val="#384571;#393716;#369442;#369441;#369442;#402664;#178234;#68697;#38703;"/>
</p:tagLst>
</file>

<file path=ppt/tags/tag8.xml><?xml version="1.0" encoding="utf-8"?>
<p:tagLst xmlns:p="http://schemas.openxmlformats.org/presentationml/2006/main">
  <p:tag name="ISLIDE.VECTOR" val="#960780;#577013;#577035;#577013;"/>
</p:tagLst>
</file>

<file path=ppt/tags/tag9.xml><?xml version="1.0" encoding="utf-8"?>
<p:tagLst xmlns:p="http://schemas.openxmlformats.org/presentationml/2006/main">
  <p:tag name="KSO_WM_UNIT_PLACING_PICTURE_USER_VIEWPORT" val="{&quot;height&quot;:10404,&quot;width&quot;:13728}"/>
</p:tagLst>
</file>

<file path=ppt/theme/theme1.xml><?xml version="1.0" encoding="utf-8"?>
<a:theme xmlns:a="http://schemas.openxmlformats.org/drawingml/2006/main" name="封面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2F2F75"/>
      </a:accent1>
      <a:accent2>
        <a:srgbClr val="ED1E81"/>
      </a:accent2>
      <a:accent3>
        <a:srgbClr val="FF9A10"/>
      </a:accent3>
      <a:accent4>
        <a:srgbClr val="EE750F"/>
      </a:accent4>
      <a:accent5>
        <a:srgbClr val="68ADE5"/>
      </a:accent5>
      <a:accent6>
        <a:srgbClr val="6B77E7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F2F75"/>
    </a:accent1>
    <a:accent2>
      <a:srgbClr val="ED1E81"/>
    </a:accent2>
    <a:accent3>
      <a:srgbClr val="FF9A10"/>
    </a:accent3>
    <a:accent4>
      <a:srgbClr val="EE750F"/>
    </a:accent4>
    <a:accent5>
      <a:srgbClr val="68ADE5"/>
    </a:accent5>
    <a:accent6>
      <a:srgbClr val="6B77E7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F2F75"/>
    </a:accent1>
    <a:accent2>
      <a:srgbClr val="ED1E81"/>
    </a:accent2>
    <a:accent3>
      <a:srgbClr val="FF9A10"/>
    </a:accent3>
    <a:accent4>
      <a:srgbClr val="EE750F"/>
    </a:accent4>
    <a:accent5>
      <a:srgbClr val="68ADE5"/>
    </a:accent5>
    <a:accent6>
      <a:srgbClr val="6B77E7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10953</Words>
  <Application>WPS 演示</Application>
  <PresentationFormat>宽屏</PresentationFormat>
  <Paragraphs>442</Paragraphs>
  <Slides>39</Slides>
  <Notes>35</Notes>
  <HiddenSlides>0</HiddenSlides>
  <MMClips>0</MMClips>
  <ScaleCrop>false</ScaleCrop>
  <HeadingPairs>
    <vt:vector size="8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39</vt:i4>
      </vt:variant>
    </vt:vector>
  </HeadingPairs>
  <TitlesOfParts>
    <vt:vector size="54" baseType="lpstr">
      <vt:lpstr>Arial</vt:lpstr>
      <vt:lpstr>宋体</vt:lpstr>
      <vt:lpstr>Wingdings</vt:lpstr>
      <vt:lpstr>Arial</vt:lpstr>
      <vt:lpstr>微软雅黑</vt:lpstr>
      <vt:lpstr>等线</vt:lpstr>
      <vt:lpstr>方正细圆简体</vt:lpstr>
      <vt:lpstr>Calibri</vt:lpstr>
      <vt:lpstr>Arial Unicode MS</vt:lpstr>
      <vt:lpstr>Roboto</vt:lpstr>
      <vt:lpstr>Times New Roman</vt:lpstr>
      <vt:lpstr>Wingdings</vt:lpstr>
      <vt:lpstr>封面</vt:lpstr>
      <vt:lpstr>TCLayout.ActiveDocument.1</vt:lpstr>
      <vt:lpstr>TCLayout.ActiveDocument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iSlide</Company>
  <LinksUpToDate>false</LinksUpToDate>
  <SharedDoc>false</SharedDoc>
  <HyperlinksChanged>false</HyperlinksChanged>
  <AppVersion>14.0000</AppVersion>
  <Manager>iSlide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任建设</cp:lastModifiedBy>
  <cp:revision>129</cp:revision>
  <cp:lastPrinted>2023-01-03T05:38:00Z</cp:lastPrinted>
  <dcterms:created xsi:type="dcterms:W3CDTF">2023-01-03T05:38:00Z</dcterms:created>
  <dcterms:modified xsi:type="dcterms:W3CDTF">2023-02-20T09:41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1.1.0.13703</vt:lpwstr>
  </property>
  <property fmtid="{D5CDD505-2E9C-101B-9397-08002B2CF9AE}" pid="4" name="ICV">
    <vt:lpwstr>8D727B81A3AD4B72918EA12BA3C250E4</vt:lpwstr>
  </property>
</Properties>
</file>